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theme/theme2.xml" ContentType="application/vnd.openxmlformats-officedocument.theme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theme/theme3.xml" ContentType="application/vnd.openxmlformats-officedocument.theme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theme/theme4.xml" ContentType="application/vnd.openxmlformats-officedocument.theme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theme/theme5.xml" ContentType="application/vnd.openxmlformats-officedocument.theme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heme/theme6.xml" ContentType="application/vnd.openxmlformats-officedocument.theme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89" r:id="rId5"/>
    <p:sldMasterId id="2147483857" r:id="rId6"/>
    <p:sldMasterId id="2147483928" r:id="rId7"/>
    <p:sldMasterId id="2147483999" r:id="rId8"/>
  </p:sldMasterIdLst>
  <p:notesMasterIdLst>
    <p:notesMasterId r:id="rId17"/>
  </p:notesMasterIdLst>
  <p:sldIdLst>
    <p:sldId id="260" r:id="rId9"/>
    <p:sldId id="339" r:id="rId10"/>
    <p:sldId id="257" r:id="rId11"/>
    <p:sldId id="337" r:id="rId12"/>
    <p:sldId id="338" r:id="rId13"/>
    <p:sldId id="316" r:id="rId14"/>
    <p:sldId id="340" r:id="rId15"/>
    <p:sldId id="306" r:id="rId16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6750" autoAdjust="0"/>
    <p:restoredTop sz="94660"/>
  </p:normalViewPr>
  <p:slideViewPr>
    <p:cSldViewPr snapToGrid="0">
      <p:cViewPr varScale="1">
        <p:scale>
          <a:sx n="104" d="100"/>
          <a:sy n="104" d="100"/>
        </p:scale>
        <p:origin x="114" y="2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133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10" Type="http://schemas.openxmlformats.org/officeDocument/2006/relationships/slide" Target="slides/slide2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2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2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drawings/_rels/vmlDrawing2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emf"/></Relationships>
</file>

<file path=ppt/drawings/_rels/vmlDrawing2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B4607303-73E4-4BEC-B961-80CFB5310411}" type="datetimeFigureOut">
              <a:rPr lang="en-US" smtClean="0"/>
              <a:t>3/22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CD48BEFB-9225-4ACC-846F-D6D2E77E61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40675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4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7" Type="http://schemas.openxmlformats.org/officeDocument/2006/relationships/image" Target="../media/image1.emf"/><Relationship Id="rId2" Type="http://schemas.openxmlformats.org/officeDocument/2006/relationships/tags" Target="../tags/tag104.xml"/><Relationship Id="rId1" Type="http://schemas.openxmlformats.org/officeDocument/2006/relationships/vmlDrawing" Target="../drawings/vmlDrawing51.vml"/><Relationship Id="rId6" Type="http://schemas.openxmlformats.org/officeDocument/2006/relationships/oleObject" Target="../embeddings/oleObject5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6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1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7" Type="http://schemas.openxmlformats.org/officeDocument/2006/relationships/image" Target="../media/image6.png"/><Relationship Id="rId2" Type="http://schemas.openxmlformats.org/officeDocument/2006/relationships/tags" Target="../tags/tag111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1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7" Type="http://schemas.openxmlformats.org/officeDocument/2006/relationships/image" Target="../media/image7.png"/><Relationship Id="rId2" Type="http://schemas.openxmlformats.org/officeDocument/2006/relationships/tags" Target="../tags/tag113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116.xml"/><Relationship Id="rId7" Type="http://schemas.openxmlformats.org/officeDocument/2006/relationships/image" Target="../media/image1.emf"/><Relationship Id="rId2" Type="http://schemas.openxmlformats.org/officeDocument/2006/relationships/tags" Target="../tags/tag115.xml"/><Relationship Id="rId1" Type="http://schemas.openxmlformats.org/officeDocument/2006/relationships/vmlDrawing" Target="../drawings/vmlDrawing56.vml"/><Relationship Id="rId6" Type="http://schemas.openxmlformats.org/officeDocument/2006/relationships/oleObject" Target="../embeddings/oleObject5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7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1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1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7" Type="http://schemas.openxmlformats.org/officeDocument/2006/relationships/image" Target="../media/image6.png"/><Relationship Id="rId2" Type="http://schemas.openxmlformats.org/officeDocument/2006/relationships/tags" Target="../tags/tag122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1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tags" Target="../tags/tag125.xml"/><Relationship Id="rId7" Type="http://schemas.openxmlformats.org/officeDocument/2006/relationships/image" Target="../media/image1.emf"/><Relationship Id="rId2" Type="http://schemas.openxmlformats.org/officeDocument/2006/relationships/tags" Target="../tags/tag124.xml"/><Relationship Id="rId1" Type="http://schemas.openxmlformats.org/officeDocument/2006/relationships/vmlDrawing" Target="../drawings/vmlDrawing60.vml"/><Relationship Id="rId6" Type="http://schemas.openxmlformats.org/officeDocument/2006/relationships/oleObject" Target="../embeddings/oleObject6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6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tags" Target="../tags/tag128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1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1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tags" Target="../tags/tag132.xml"/><Relationship Id="rId7" Type="http://schemas.openxmlformats.org/officeDocument/2006/relationships/image" Target="../media/image6.png"/><Relationship Id="rId2" Type="http://schemas.openxmlformats.org/officeDocument/2006/relationships/tags" Target="../tags/tag131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3.bin"/><Relationship Id="rId4" Type="http://schemas.openxmlformats.org/officeDocument/2006/relationships/slideMaster" Target="../slideMasters/slideMaster1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7" Type="http://schemas.openxmlformats.org/officeDocument/2006/relationships/image" Target="../media/image7.png"/><Relationship Id="rId2" Type="http://schemas.openxmlformats.org/officeDocument/2006/relationships/tags" Target="../tags/tag133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1.xml"/></Relationships>
</file>

<file path=ppt/slideLayouts/_rels/slideLayout1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138.xml"/><Relationship Id="rId7" Type="http://schemas.openxmlformats.org/officeDocument/2006/relationships/image" Target="../media/image3.png"/><Relationship Id="rId2" Type="http://schemas.openxmlformats.org/officeDocument/2006/relationships/tags" Target="../tags/tag137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6.bin"/><Relationship Id="rId4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67.bin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1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68.bin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9.bin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143.xml"/><Relationship Id="rId7" Type="http://schemas.openxmlformats.org/officeDocument/2006/relationships/image" Target="../media/image3.png"/><Relationship Id="rId2" Type="http://schemas.openxmlformats.org/officeDocument/2006/relationships/tags" Target="../tags/tag142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0.bin"/><Relationship Id="rId4" Type="http://schemas.openxmlformats.org/officeDocument/2006/relationships/slideMaster" Target="../slideMasters/slideMaster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4.bin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7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71.bin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2.bin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3.bin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tags" Target="../tags/tag148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4.bin"/><Relationship Id="rId4" Type="http://schemas.openxmlformats.org/officeDocument/2006/relationships/slideMaster" Target="../slideMasters/slideMaster2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1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8.bin"/><Relationship Id="rId4" Type="http://schemas.openxmlformats.org/officeDocument/2006/relationships/slideMaster" Target="../slideMasters/slideMaster2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Layouts/_rels/slideLayout1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tags" Target="../tags/tag160.xml"/><Relationship Id="rId7" Type="http://schemas.openxmlformats.org/officeDocument/2006/relationships/image" Target="../media/image12.jpeg"/><Relationship Id="rId2" Type="http://schemas.openxmlformats.org/officeDocument/2006/relationships/tags" Target="../tags/tag159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4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4.png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1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85.bin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86.bin"/></Relationships>
</file>

<file path=ppt/slideLayouts/_rels/slideLayout18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8.jpeg"/><Relationship Id="rId2" Type="http://schemas.openxmlformats.org/officeDocument/2006/relationships/tags" Target="../tags/tag163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17.jpe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87.bin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microsoft.com/office/2007/relationships/hdphoto" Target="../media/hdphoto1.wdp"/><Relationship Id="rId2" Type="http://schemas.openxmlformats.org/officeDocument/2006/relationships/tags" Target="../tags/tag164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18.jpe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88.bin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19.jpe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89.bin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microsoft.com/office/2007/relationships/hdphoto" Target="../media/hdphoto2.wdp"/><Relationship Id="rId2" Type="http://schemas.openxmlformats.org/officeDocument/2006/relationships/tags" Target="../tags/tag166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20.jpe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90.bin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21.jpe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91.bin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22.jpe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92.bin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23.jpe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93.bin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94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94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6.xml"/><Relationship Id="rId7" Type="http://schemas.openxmlformats.org/officeDocument/2006/relationships/image" Target="../media/image5.jpe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1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24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95.bin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96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96.bin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24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97.bin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98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98.bin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24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99.bin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6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00.bin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24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01.bin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4.png"/><Relationship Id="rId2" Type="http://schemas.openxmlformats.org/officeDocument/2006/relationships/tags" Target="../tags/tag178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25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02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2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3.jpeg"/><Relationship Id="rId2" Type="http://schemas.openxmlformats.org/officeDocument/2006/relationships/tags" Target="../tags/tag179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12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3.bin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04.bin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1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05.bin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2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06.bin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107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07.bin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108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08.bin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09.bin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6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24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10.bin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7.xml"/><Relationship Id="rId1" Type="http://schemas.openxmlformats.org/officeDocument/2006/relationships/vmlDrawing" Target="../drawings/vmlDrawing111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11.bin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24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12.bin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9.xml"/><Relationship Id="rId1" Type="http://schemas.openxmlformats.org/officeDocument/2006/relationships/vmlDrawing" Target="../drawings/vmlDrawing113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13.bin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0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24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14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1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1.xml"/><Relationship Id="rId1" Type="http://schemas.openxmlformats.org/officeDocument/2006/relationships/vmlDrawing" Target="../drawings/vmlDrawing115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15.bin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2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24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16.bin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117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17.bin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24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18.bin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4.png"/><Relationship Id="rId2" Type="http://schemas.openxmlformats.org/officeDocument/2006/relationships/tags" Target="../tags/tag195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2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9.bin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6.xml"/><Relationship Id="rId1" Type="http://schemas.openxmlformats.org/officeDocument/2006/relationships/vmlDrawing" Target="../drawings/vmlDrawing120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20.bin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tags" Target="../tags/tag198.xml"/><Relationship Id="rId7" Type="http://schemas.openxmlformats.org/officeDocument/2006/relationships/image" Target="../media/image24.png"/><Relationship Id="rId2" Type="http://schemas.openxmlformats.org/officeDocument/2006/relationships/tags" Target="../tags/tag197.xml"/><Relationship Id="rId1" Type="http://schemas.openxmlformats.org/officeDocument/2006/relationships/vmlDrawing" Target="../drawings/vmlDrawing1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1.bin"/><Relationship Id="rId4" Type="http://schemas.openxmlformats.org/officeDocument/2006/relationships/slideMaster" Target="../slideMasters/slideMaster3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9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2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2.bin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0.xml"/><Relationship Id="rId1" Type="http://schemas.openxmlformats.org/officeDocument/2006/relationships/vmlDrawing" Target="../drawings/vmlDrawing123.vml"/><Relationship Id="rId6" Type="http://schemas.openxmlformats.org/officeDocument/2006/relationships/image" Target="../media/image2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3.bin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1.xml"/><Relationship Id="rId1" Type="http://schemas.openxmlformats.org/officeDocument/2006/relationships/vmlDrawing" Target="../drawings/vmlDrawing124.vml"/><Relationship Id="rId6" Type="http://schemas.openxmlformats.org/officeDocument/2006/relationships/image" Target="../media/image2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4.bin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tags" Target="../tags/tag203.xml"/><Relationship Id="rId2" Type="http://schemas.openxmlformats.org/officeDocument/2006/relationships/tags" Target="../tags/tag202.xml"/><Relationship Id="rId1" Type="http://schemas.openxmlformats.org/officeDocument/2006/relationships/vmlDrawing" Target="../drawings/vmlDrawing1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5.bin"/><Relationship Id="rId4" Type="http://schemas.openxmlformats.org/officeDocument/2006/relationships/slideMaster" Target="../slideMasters/slideMaster3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4.xml"/><Relationship Id="rId1" Type="http://schemas.openxmlformats.org/officeDocument/2006/relationships/vmlDrawing" Target="../drawings/vmlDrawing1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6.bin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5.xml"/><Relationship Id="rId1" Type="http://schemas.openxmlformats.org/officeDocument/2006/relationships/vmlDrawing" Target="../drawings/vmlDrawing1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7.bin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4.png"/><Relationship Id="rId2" Type="http://schemas.openxmlformats.org/officeDocument/2006/relationships/tags" Target="../tags/tag206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2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8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7.xml"/><Relationship Id="rId1" Type="http://schemas.openxmlformats.org/officeDocument/2006/relationships/vmlDrawing" Target="../drawings/vmlDrawing1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9.bin"/></Relationships>
</file>

<file path=ppt/slideLayouts/_rels/slideLayout2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tags" Target="../tags/tag210.xml"/><Relationship Id="rId7" Type="http://schemas.openxmlformats.org/officeDocument/2006/relationships/image" Target="../media/image27.jpeg"/><Relationship Id="rId2" Type="http://schemas.openxmlformats.org/officeDocument/2006/relationships/tags" Target="../tags/tag209.xml"/><Relationship Id="rId1" Type="http://schemas.openxmlformats.org/officeDocument/2006/relationships/vmlDrawing" Target="../drawings/vmlDrawing13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1.bin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3.png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11.xml"/><Relationship Id="rId1" Type="http://schemas.openxmlformats.org/officeDocument/2006/relationships/vmlDrawing" Target="../drawings/vmlDrawing132.vml"/><Relationship Id="rId6" Type="http://schemas.openxmlformats.org/officeDocument/2006/relationships/image" Target="../media/image29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32.bin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12.xml"/><Relationship Id="rId1" Type="http://schemas.openxmlformats.org/officeDocument/2006/relationships/vmlDrawing" Target="../drawings/vmlDrawing133.vml"/><Relationship Id="rId6" Type="http://schemas.openxmlformats.org/officeDocument/2006/relationships/image" Target="../media/image29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33.bin"/></Relationships>
</file>

<file path=ppt/slideLayouts/_rels/slideLayout25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1.png"/><Relationship Id="rId2" Type="http://schemas.openxmlformats.org/officeDocument/2006/relationships/tags" Target="../tags/tag213.xml"/><Relationship Id="rId1" Type="http://schemas.openxmlformats.org/officeDocument/2006/relationships/vmlDrawing" Target="../drawings/vmlDrawing134.vml"/><Relationship Id="rId6" Type="http://schemas.openxmlformats.org/officeDocument/2006/relationships/image" Target="../media/image30.jpe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34.bin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microsoft.com/office/2007/relationships/hdphoto" Target="../media/hdphoto1.wdp"/><Relationship Id="rId2" Type="http://schemas.openxmlformats.org/officeDocument/2006/relationships/tags" Target="../tags/tag214.xml"/><Relationship Id="rId1" Type="http://schemas.openxmlformats.org/officeDocument/2006/relationships/vmlDrawing" Target="../drawings/vmlDrawing135.vml"/><Relationship Id="rId6" Type="http://schemas.openxmlformats.org/officeDocument/2006/relationships/image" Target="../media/image31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35.bin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15.xml"/><Relationship Id="rId1" Type="http://schemas.openxmlformats.org/officeDocument/2006/relationships/vmlDrawing" Target="../drawings/vmlDrawing136.vml"/><Relationship Id="rId6" Type="http://schemas.openxmlformats.org/officeDocument/2006/relationships/image" Target="../media/image32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36.bin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microsoft.com/office/2007/relationships/hdphoto" Target="../media/hdphoto2.wdp"/><Relationship Id="rId2" Type="http://schemas.openxmlformats.org/officeDocument/2006/relationships/tags" Target="../tags/tag216.xml"/><Relationship Id="rId1" Type="http://schemas.openxmlformats.org/officeDocument/2006/relationships/vmlDrawing" Target="../drawings/vmlDrawing137.vml"/><Relationship Id="rId6" Type="http://schemas.openxmlformats.org/officeDocument/2006/relationships/image" Target="../media/image33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37.bin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17.xml"/><Relationship Id="rId1" Type="http://schemas.openxmlformats.org/officeDocument/2006/relationships/vmlDrawing" Target="../drawings/vmlDrawing138.vml"/><Relationship Id="rId6" Type="http://schemas.openxmlformats.org/officeDocument/2006/relationships/image" Target="../media/image34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38.bin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18.xml"/><Relationship Id="rId1" Type="http://schemas.openxmlformats.org/officeDocument/2006/relationships/vmlDrawing" Target="../drawings/vmlDrawing139.vml"/><Relationship Id="rId6" Type="http://schemas.openxmlformats.org/officeDocument/2006/relationships/image" Target="../media/image35.jpe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39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19.xml"/><Relationship Id="rId1" Type="http://schemas.openxmlformats.org/officeDocument/2006/relationships/vmlDrawing" Target="../drawings/vmlDrawing140.vml"/><Relationship Id="rId6" Type="http://schemas.openxmlformats.org/officeDocument/2006/relationships/image" Target="../media/image36.jpe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40.bin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20.xml"/><Relationship Id="rId1" Type="http://schemas.openxmlformats.org/officeDocument/2006/relationships/vmlDrawing" Target="../drawings/vmlDrawing141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41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21.xml"/><Relationship Id="rId1" Type="http://schemas.openxmlformats.org/officeDocument/2006/relationships/vmlDrawing" Target="../drawings/vmlDrawing142.vml"/><Relationship Id="rId6" Type="http://schemas.openxmlformats.org/officeDocument/2006/relationships/image" Target="../media/image37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42.bin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22.xml"/><Relationship Id="rId1" Type="http://schemas.openxmlformats.org/officeDocument/2006/relationships/vmlDrawing" Target="../drawings/vmlDrawing143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43.bin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23.xml"/><Relationship Id="rId1" Type="http://schemas.openxmlformats.org/officeDocument/2006/relationships/vmlDrawing" Target="../drawings/vmlDrawing144.vml"/><Relationship Id="rId6" Type="http://schemas.openxmlformats.org/officeDocument/2006/relationships/image" Target="../media/image37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44.bin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24.xml"/><Relationship Id="rId1" Type="http://schemas.openxmlformats.org/officeDocument/2006/relationships/vmlDrawing" Target="../drawings/vmlDrawing145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45.bin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25.xml"/><Relationship Id="rId1" Type="http://schemas.openxmlformats.org/officeDocument/2006/relationships/vmlDrawing" Target="../drawings/vmlDrawing146.vml"/><Relationship Id="rId6" Type="http://schemas.openxmlformats.org/officeDocument/2006/relationships/image" Target="../media/image37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46.bin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26.xml"/><Relationship Id="rId1" Type="http://schemas.openxmlformats.org/officeDocument/2006/relationships/vmlDrawing" Target="../drawings/vmlDrawing147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47.bin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27.xml"/><Relationship Id="rId1" Type="http://schemas.openxmlformats.org/officeDocument/2006/relationships/vmlDrawing" Target="../drawings/vmlDrawing148.vml"/><Relationship Id="rId6" Type="http://schemas.openxmlformats.org/officeDocument/2006/relationships/image" Target="../media/image37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48.bin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7.png"/><Relationship Id="rId2" Type="http://schemas.openxmlformats.org/officeDocument/2006/relationships/tags" Target="../tags/tag228.xml"/><Relationship Id="rId1" Type="http://schemas.openxmlformats.org/officeDocument/2006/relationships/vmlDrawing" Target="../drawings/vmlDrawing149.vml"/><Relationship Id="rId6" Type="http://schemas.openxmlformats.org/officeDocument/2006/relationships/image" Target="../media/image11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49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2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8.jpeg"/><Relationship Id="rId2" Type="http://schemas.openxmlformats.org/officeDocument/2006/relationships/tags" Target="../tags/tag229.xml"/><Relationship Id="rId1" Type="http://schemas.openxmlformats.org/officeDocument/2006/relationships/vmlDrawing" Target="../drawings/vmlDrawing150.vml"/><Relationship Id="rId6" Type="http://schemas.openxmlformats.org/officeDocument/2006/relationships/image" Target="../media/image27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0.bin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0.xml"/><Relationship Id="rId1" Type="http://schemas.openxmlformats.org/officeDocument/2006/relationships/vmlDrawing" Target="../drawings/vmlDrawing151.vml"/><Relationship Id="rId6" Type="http://schemas.openxmlformats.org/officeDocument/2006/relationships/image" Target="../media/image29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51.bin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1.xml"/><Relationship Id="rId1" Type="http://schemas.openxmlformats.org/officeDocument/2006/relationships/vmlDrawing" Target="../drawings/vmlDrawing152.vml"/><Relationship Id="rId6" Type="http://schemas.openxmlformats.org/officeDocument/2006/relationships/image" Target="../media/image29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52.bin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2.xml"/><Relationship Id="rId1" Type="http://schemas.openxmlformats.org/officeDocument/2006/relationships/vmlDrawing" Target="../drawings/vmlDrawing153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53.bin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3.xml"/><Relationship Id="rId1" Type="http://schemas.openxmlformats.org/officeDocument/2006/relationships/vmlDrawing" Target="../drawings/vmlDrawing154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54.bin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155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55.bin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5.xml"/><Relationship Id="rId1" Type="http://schemas.openxmlformats.org/officeDocument/2006/relationships/vmlDrawing" Target="../drawings/vmlDrawing156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56.bin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6.xml"/><Relationship Id="rId1" Type="http://schemas.openxmlformats.org/officeDocument/2006/relationships/vmlDrawing" Target="../drawings/vmlDrawing157.vml"/><Relationship Id="rId6" Type="http://schemas.openxmlformats.org/officeDocument/2006/relationships/image" Target="../media/image37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57.bin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7.xml"/><Relationship Id="rId1" Type="http://schemas.openxmlformats.org/officeDocument/2006/relationships/vmlDrawing" Target="../drawings/vmlDrawing158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58.bin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8.xml"/><Relationship Id="rId1" Type="http://schemas.openxmlformats.org/officeDocument/2006/relationships/vmlDrawing" Target="../drawings/vmlDrawing159.vml"/><Relationship Id="rId6" Type="http://schemas.openxmlformats.org/officeDocument/2006/relationships/image" Target="../media/image37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59.bin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9.xml"/><Relationship Id="rId1" Type="http://schemas.openxmlformats.org/officeDocument/2006/relationships/vmlDrawing" Target="../drawings/vmlDrawing160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60.bin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40.xml"/><Relationship Id="rId1" Type="http://schemas.openxmlformats.org/officeDocument/2006/relationships/vmlDrawing" Target="../drawings/vmlDrawing161.vml"/><Relationship Id="rId6" Type="http://schemas.openxmlformats.org/officeDocument/2006/relationships/image" Target="../media/image37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6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11.xml"/><Relationship Id="rId7" Type="http://schemas.openxmlformats.org/officeDocument/2006/relationships/image" Target="../media/image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41.xml"/><Relationship Id="rId1" Type="http://schemas.openxmlformats.org/officeDocument/2006/relationships/vmlDrawing" Target="../drawings/vmlDrawing162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62.bin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42.xml"/><Relationship Id="rId1" Type="http://schemas.openxmlformats.org/officeDocument/2006/relationships/vmlDrawing" Target="../drawings/vmlDrawing163.vml"/><Relationship Id="rId6" Type="http://schemas.openxmlformats.org/officeDocument/2006/relationships/image" Target="../media/image37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63.bin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43.xml"/><Relationship Id="rId1" Type="http://schemas.openxmlformats.org/officeDocument/2006/relationships/vmlDrawing" Target="../drawings/vmlDrawing164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64.bin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44.xml"/><Relationship Id="rId1" Type="http://schemas.openxmlformats.org/officeDocument/2006/relationships/vmlDrawing" Target="../drawings/vmlDrawing165.vml"/><Relationship Id="rId6" Type="http://schemas.openxmlformats.org/officeDocument/2006/relationships/image" Target="../media/image37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65.bin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7.png"/><Relationship Id="rId2" Type="http://schemas.openxmlformats.org/officeDocument/2006/relationships/tags" Target="../tags/tag245.xml"/><Relationship Id="rId1" Type="http://schemas.openxmlformats.org/officeDocument/2006/relationships/vmlDrawing" Target="../drawings/vmlDrawing166.vml"/><Relationship Id="rId6" Type="http://schemas.openxmlformats.org/officeDocument/2006/relationships/image" Target="../media/image1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6.bin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46.xml"/><Relationship Id="rId1" Type="http://schemas.openxmlformats.org/officeDocument/2006/relationships/vmlDrawing" Target="../drawings/vmlDrawing167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67.bin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tags" Target="../tags/tag248.xml"/><Relationship Id="rId7" Type="http://schemas.openxmlformats.org/officeDocument/2006/relationships/image" Target="../media/image37.png"/><Relationship Id="rId2" Type="http://schemas.openxmlformats.org/officeDocument/2006/relationships/tags" Target="../tags/tag247.xml"/><Relationship Id="rId1" Type="http://schemas.openxmlformats.org/officeDocument/2006/relationships/vmlDrawing" Target="../drawings/vmlDrawing16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8.bin"/><Relationship Id="rId4" Type="http://schemas.openxmlformats.org/officeDocument/2006/relationships/slideMaster" Target="../slideMasters/slideMaster4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49.xml"/><Relationship Id="rId1" Type="http://schemas.openxmlformats.org/officeDocument/2006/relationships/vmlDrawing" Target="../drawings/vmlDrawing169.vml"/><Relationship Id="rId6" Type="http://schemas.openxmlformats.org/officeDocument/2006/relationships/image" Target="../media/image3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9.bin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50.xml"/><Relationship Id="rId1" Type="http://schemas.openxmlformats.org/officeDocument/2006/relationships/vmlDrawing" Target="../drawings/vmlDrawing170.vml"/><Relationship Id="rId6" Type="http://schemas.openxmlformats.org/officeDocument/2006/relationships/image" Target="../media/image3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0.bin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51.xml"/><Relationship Id="rId1" Type="http://schemas.openxmlformats.org/officeDocument/2006/relationships/vmlDrawing" Target="../drawings/vmlDrawing171.vml"/><Relationship Id="rId6" Type="http://schemas.openxmlformats.org/officeDocument/2006/relationships/image" Target="../media/image3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1.bin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tags" Target="../tags/tag253.xml"/><Relationship Id="rId2" Type="http://schemas.openxmlformats.org/officeDocument/2006/relationships/tags" Target="../tags/tag252.xml"/><Relationship Id="rId1" Type="http://schemas.openxmlformats.org/officeDocument/2006/relationships/vmlDrawing" Target="../drawings/vmlDrawing17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2.bin"/><Relationship Id="rId4" Type="http://schemas.openxmlformats.org/officeDocument/2006/relationships/slideMaster" Target="../slideMasters/slideMaster4.xml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54.xml"/><Relationship Id="rId1" Type="http://schemas.openxmlformats.org/officeDocument/2006/relationships/vmlDrawing" Target="../drawings/vmlDrawing17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3.bin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55.xml"/><Relationship Id="rId1" Type="http://schemas.openxmlformats.org/officeDocument/2006/relationships/vmlDrawing" Target="../drawings/vmlDrawing17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4.bin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7.png"/><Relationship Id="rId2" Type="http://schemas.openxmlformats.org/officeDocument/2006/relationships/tags" Target="../tags/tag256.xml"/><Relationship Id="rId1" Type="http://schemas.openxmlformats.org/officeDocument/2006/relationships/vmlDrawing" Target="../drawings/vmlDrawing17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5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57.xml"/><Relationship Id="rId1" Type="http://schemas.openxmlformats.org/officeDocument/2006/relationships/vmlDrawing" Target="../drawings/vmlDrawing17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6.bin"/></Relationships>
</file>

<file path=ppt/slideLayouts/_rels/slideLayout3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261.xml"/><Relationship Id="rId7" Type="http://schemas.openxmlformats.org/officeDocument/2006/relationships/image" Target="../media/image3.png"/><Relationship Id="rId2" Type="http://schemas.openxmlformats.org/officeDocument/2006/relationships/tags" Target="../tags/tag260.xml"/><Relationship Id="rId1" Type="http://schemas.openxmlformats.org/officeDocument/2006/relationships/vmlDrawing" Target="../drawings/vmlDrawing17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8.bin"/><Relationship Id="rId4" Type="http://schemas.openxmlformats.org/officeDocument/2006/relationships/slideMaster" Target="../slideMasters/slideMaster5.xml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tags" Target="../tags/tag263.xml"/><Relationship Id="rId7" Type="http://schemas.openxmlformats.org/officeDocument/2006/relationships/image" Target="../media/image29.png"/><Relationship Id="rId2" Type="http://schemas.openxmlformats.org/officeDocument/2006/relationships/tags" Target="../tags/tag262.xml"/><Relationship Id="rId1" Type="http://schemas.openxmlformats.org/officeDocument/2006/relationships/vmlDrawing" Target="../drawings/vmlDrawing17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9.bin"/><Relationship Id="rId4" Type="http://schemas.openxmlformats.org/officeDocument/2006/relationships/slideMaster" Target="../slideMasters/slideMaster5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5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64.xml"/><Relationship Id="rId1" Type="http://schemas.openxmlformats.org/officeDocument/2006/relationships/vmlDrawing" Target="../drawings/vmlDrawing180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80.bin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65.xml"/><Relationship Id="rId1" Type="http://schemas.openxmlformats.org/officeDocument/2006/relationships/vmlDrawing" Target="../drawings/vmlDrawing181.vml"/><Relationship Id="rId6" Type="http://schemas.openxmlformats.org/officeDocument/2006/relationships/image" Target="../media/image11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81.bin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66.xml"/><Relationship Id="rId1" Type="http://schemas.openxmlformats.org/officeDocument/2006/relationships/vmlDrawing" Target="../drawings/vmlDrawing18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2.bin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268.xml"/><Relationship Id="rId7" Type="http://schemas.openxmlformats.org/officeDocument/2006/relationships/image" Target="../media/image3.png"/><Relationship Id="rId2" Type="http://schemas.openxmlformats.org/officeDocument/2006/relationships/tags" Target="../tags/tag267.xml"/><Relationship Id="rId1" Type="http://schemas.openxmlformats.org/officeDocument/2006/relationships/vmlDrawing" Target="../drawings/vmlDrawing18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3.bin"/><Relationship Id="rId4" Type="http://schemas.openxmlformats.org/officeDocument/2006/relationships/slideMaster" Target="../slideMasters/slideMaster5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69.xml"/><Relationship Id="rId1" Type="http://schemas.openxmlformats.org/officeDocument/2006/relationships/vmlDrawing" Target="../drawings/vmlDrawing184.vml"/><Relationship Id="rId6" Type="http://schemas.openxmlformats.org/officeDocument/2006/relationships/image" Target="../media/image7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84.bin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70.xml"/><Relationship Id="rId1" Type="http://schemas.openxmlformats.org/officeDocument/2006/relationships/vmlDrawing" Target="../drawings/vmlDrawing185.vml"/><Relationship Id="rId6" Type="http://schemas.openxmlformats.org/officeDocument/2006/relationships/image" Target="../media/image1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5.bin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71.xml"/><Relationship Id="rId1" Type="http://schemas.openxmlformats.org/officeDocument/2006/relationships/vmlDrawing" Target="../drawings/vmlDrawing186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6.bin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tags" Target="../tags/tag273.xml"/><Relationship Id="rId7" Type="http://schemas.openxmlformats.org/officeDocument/2006/relationships/image" Target="../media/image1.emf"/><Relationship Id="rId2" Type="http://schemas.openxmlformats.org/officeDocument/2006/relationships/tags" Target="../tags/tag272.xml"/><Relationship Id="rId1" Type="http://schemas.openxmlformats.org/officeDocument/2006/relationships/vmlDrawing" Target="../drawings/vmlDrawing187.vml"/><Relationship Id="rId6" Type="http://schemas.openxmlformats.org/officeDocument/2006/relationships/oleObject" Target="../embeddings/oleObject187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274.xml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tags" Target="../tags/tag276.xml"/><Relationship Id="rId2" Type="http://schemas.openxmlformats.org/officeDocument/2006/relationships/tags" Target="../tags/tag275.xml"/><Relationship Id="rId1" Type="http://schemas.openxmlformats.org/officeDocument/2006/relationships/vmlDrawing" Target="../drawings/vmlDrawing18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8.bin"/><Relationship Id="rId4" Type="http://schemas.openxmlformats.org/officeDocument/2006/relationships/slideMaster" Target="../slideMasters/slideMaster5.xml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tags" Target="../tags/tag278.xml"/><Relationship Id="rId2" Type="http://schemas.openxmlformats.org/officeDocument/2006/relationships/tags" Target="../tags/tag277.xml"/><Relationship Id="rId1" Type="http://schemas.openxmlformats.org/officeDocument/2006/relationships/vmlDrawing" Target="../drawings/vmlDrawing18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9.bin"/><Relationship Id="rId4" Type="http://schemas.openxmlformats.org/officeDocument/2006/relationships/slideMaster" Target="../slideMasters/slideMaster5.xml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tags" Target="../tags/tag280.xml"/><Relationship Id="rId7" Type="http://schemas.openxmlformats.org/officeDocument/2006/relationships/image" Target="../media/image6.png"/><Relationship Id="rId2" Type="http://schemas.openxmlformats.org/officeDocument/2006/relationships/tags" Target="../tags/tag279.xml"/><Relationship Id="rId1" Type="http://schemas.openxmlformats.org/officeDocument/2006/relationships/vmlDrawing" Target="../drawings/vmlDrawing19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0.bin"/><Relationship Id="rId4" Type="http://schemas.openxmlformats.org/officeDocument/2006/relationships/slideMaster" Target="../slideMasters/slideMaster5.xml"/></Relationships>
</file>

<file path=ppt/slideLayouts/_rels/slideLayout384.xml.rels><?xml version="1.0" encoding="UTF-8" standalone="yes"?>
<Relationships xmlns="http://schemas.openxmlformats.org/package/2006/relationships"><Relationship Id="rId3" Type="http://schemas.openxmlformats.org/officeDocument/2006/relationships/tags" Target="../tags/tag282.xml"/><Relationship Id="rId7" Type="http://schemas.openxmlformats.org/officeDocument/2006/relationships/image" Target="../media/image1.emf"/><Relationship Id="rId2" Type="http://schemas.openxmlformats.org/officeDocument/2006/relationships/tags" Target="../tags/tag281.xml"/><Relationship Id="rId1" Type="http://schemas.openxmlformats.org/officeDocument/2006/relationships/vmlDrawing" Target="../drawings/vmlDrawing191.vml"/><Relationship Id="rId6" Type="http://schemas.openxmlformats.org/officeDocument/2006/relationships/oleObject" Target="../embeddings/oleObject191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283.xml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tags" Target="../tags/tag285.xml"/><Relationship Id="rId2" Type="http://schemas.openxmlformats.org/officeDocument/2006/relationships/tags" Target="../tags/tag284.xml"/><Relationship Id="rId1" Type="http://schemas.openxmlformats.org/officeDocument/2006/relationships/vmlDrawing" Target="../drawings/vmlDrawing19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2.bin"/><Relationship Id="rId4" Type="http://schemas.openxmlformats.org/officeDocument/2006/relationships/slideMaster" Target="../slideMasters/slideMaster5.xml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tags" Target="../tags/tag287.xml"/><Relationship Id="rId2" Type="http://schemas.openxmlformats.org/officeDocument/2006/relationships/tags" Target="../tags/tag286.xml"/><Relationship Id="rId1" Type="http://schemas.openxmlformats.org/officeDocument/2006/relationships/vmlDrawing" Target="../drawings/vmlDrawing19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3.bin"/><Relationship Id="rId4" Type="http://schemas.openxmlformats.org/officeDocument/2006/relationships/slideMaster" Target="../slideMasters/slideMaster5.xml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tags" Target="../tags/tag289.xml"/><Relationship Id="rId7" Type="http://schemas.openxmlformats.org/officeDocument/2006/relationships/image" Target="../media/image6.png"/><Relationship Id="rId2" Type="http://schemas.openxmlformats.org/officeDocument/2006/relationships/tags" Target="../tags/tag288.xml"/><Relationship Id="rId1" Type="http://schemas.openxmlformats.org/officeDocument/2006/relationships/vmlDrawing" Target="../drawings/vmlDrawing19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4.bin"/><Relationship Id="rId4" Type="http://schemas.openxmlformats.org/officeDocument/2006/relationships/slideMaster" Target="../slideMasters/slideMaster5.xml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tags" Target="../tags/tag291.xml"/><Relationship Id="rId7" Type="http://schemas.openxmlformats.org/officeDocument/2006/relationships/image" Target="../media/image7.png"/><Relationship Id="rId2" Type="http://schemas.openxmlformats.org/officeDocument/2006/relationships/tags" Target="../tags/tag290.xml"/><Relationship Id="rId1" Type="http://schemas.openxmlformats.org/officeDocument/2006/relationships/vmlDrawing" Target="../drawings/vmlDrawing19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5.bin"/><Relationship Id="rId4" Type="http://schemas.openxmlformats.org/officeDocument/2006/relationships/slideMaster" Target="../slideMasters/slideMaster5.xml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tags" Target="../tags/tag293.xml"/><Relationship Id="rId7" Type="http://schemas.openxmlformats.org/officeDocument/2006/relationships/image" Target="../media/image1.emf"/><Relationship Id="rId2" Type="http://schemas.openxmlformats.org/officeDocument/2006/relationships/tags" Target="../tags/tag292.xml"/><Relationship Id="rId1" Type="http://schemas.openxmlformats.org/officeDocument/2006/relationships/vmlDrawing" Target="../drawings/vmlDrawing196.vml"/><Relationship Id="rId6" Type="http://schemas.openxmlformats.org/officeDocument/2006/relationships/oleObject" Target="../embeddings/oleObject196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29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tags" Target="../tags/tag296.xml"/><Relationship Id="rId2" Type="http://schemas.openxmlformats.org/officeDocument/2006/relationships/tags" Target="../tags/tag295.xml"/><Relationship Id="rId1" Type="http://schemas.openxmlformats.org/officeDocument/2006/relationships/vmlDrawing" Target="../drawings/vmlDrawing19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7.bin"/><Relationship Id="rId4" Type="http://schemas.openxmlformats.org/officeDocument/2006/relationships/slideMaster" Target="../slideMasters/slideMaster5.xml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tags" Target="../tags/tag298.xml"/><Relationship Id="rId2" Type="http://schemas.openxmlformats.org/officeDocument/2006/relationships/tags" Target="../tags/tag297.xml"/><Relationship Id="rId1" Type="http://schemas.openxmlformats.org/officeDocument/2006/relationships/vmlDrawing" Target="../drawings/vmlDrawing19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8.bin"/><Relationship Id="rId4" Type="http://schemas.openxmlformats.org/officeDocument/2006/relationships/slideMaster" Target="../slideMasters/slideMaster5.xml"/></Relationships>
</file>

<file path=ppt/slideLayouts/_rels/slideLayout392.xml.rels><?xml version="1.0" encoding="UTF-8" standalone="yes"?>
<Relationships xmlns="http://schemas.openxmlformats.org/package/2006/relationships"><Relationship Id="rId3" Type="http://schemas.openxmlformats.org/officeDocument/2006/relationships/tags" Target="../tags/tag300.xml"/><Relationship Id="rId7" Type="http://schemas.openxmlformats.org/officeDocument/2006/relationships/image" Target="../media/image6.png"/><Relationship Id="rId2" Type="http://schemas.openxmlformats.org/officeDocument/2006/relationships/tags" Target="../tags/tag299.xml"/><Relationship Id="rId1" Type="http://schemas.openxmlformats.org/officeDocument/2006/relationships/vmlDrawing" Target="../drawings/vmlDrawing19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9.bin"/><Relationship Id="rId4" Type="http://schemas.openxmlformats.org/officeDocument/2006/relationships/slideMaster" Target="../slideMasters/slideMaster5.xml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tags" Target="../tags/tag302.xml"/><Relationship Id="rId7" Type="http://schemas.openxmlformats.org/officeDocument/2006/relationships/image" Target="../media/image1.emf"/><Relationship Id="rId2" Type="http://schemas.openxmlformats.org/officeDocument/2006/relationships/tags" Target="../tags/tag301.xml"/><Relationship Id="rId1" Type="http://schemas.openxmlformats.org/officeDocument/2006/relationships/vmlDrawing" Target="../drawings/vmlDrawing200.vml"/><Relationship Id="rId6" Type="http://schemas.openxmlformats.org/officeDocument/2006/relationships/oleObject" Target="../embeddings/oleObject200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03.xml"/></Relationships>
</file>

<file path=ppt/slideLayouts/_rels/slideLayout394.xml.rels><?xml version="1.0" encoding="UTF-8" standalone="yes"?>
<Relationships xmlns="http://schemas.openxmlformats.org/package/2006/relationships"><Relationship Id="rId3" Type="http://schemas.openxmlformats.org/officeDocument/2006/relationships/tags" Target="../tags/tag305.xml"/><Relationship Id="rId2" Type="http://schemas.openxmlformats.org/officeDocument/2006/relationships/tags" Target="../tags/tag304.xml"/><Relationship Id="rId1" Type="http://schemas.openxmlformats.org/officeDocument/2006/relationships/vmlDrawing" Target="../drawings/vmlDrawing20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1.bin"/><Relationship Id="rId4" Type="http://schemas.openxmlformats.org/officeDocument/2006/relationships/slideMaster" Target="../slideMasters/slideMaster5.xml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tags" Target="../tags/tag307.xml"/><Relationship Id="rId2" Type="http://schemas.openxmlformats.org/officeDocument/2006/relationships/tags" Target="../tags/tag306.xml"/><Relationship Id="rId1" Type="http://schemas.openxmlformats.org/officeDocument/2006/relationships/vmlDrawing" Target="../drawings/vmlDrawing20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2.bin"/><Relationship Id="rId4" Type="http://schemas.openxmlformats.org/officeDocument/2006/relationships/slideMaster" Target="../slideMasters/slideMaster5.xml"/></Relationships>
</file>

<file path=ppt/slideLayouts/_rels/slideLayout396.xml.rels><?xml version="1.0" encoding="UTF-8" standalone="yes"?>
<Relationships xmlns="http://schemas.openxmlformats.org/package/2006/relationships"><Relationship Id="rId3" Type="http://schemas.openxmlformats.org/officeDocument/2006/relationships/tags" Target="../tags/tag309.xml"/><Relationship Id="rId7" Type="http://schemas.openxmlformats.org/officeDocument/2006/relationships/image" Target="../media/image6.png"/><Relationship Id="rId2" Type="http://schemas.openxmlformats.org/officeDocument/2006/relationships/tags" Target="../tags/tag308.xml"/><Relationship Id="rId1" Type="http://schemas.openxmlformats.org/officeDocument/2006/relationships/vmlDrawing" Target="../drawings/vmlDrawing20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3.bin"/><Relationship Id="rId4" Type="http://schemas.openxmlformats.org/officeDocument/2006/relationships/slideMaster" Target="../slideMasters/slideMaster5.xml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tags" Target="../tags/tag311.xml"/><Relationship Id="rId7" Type="http://schemas.openxmlformats.org/officeDocument/2006/relationships/image" Target="../media/image7.png"/><Relationship Id="rId2" Type="http://schemas.openxmlformats.org/officeDocument/2006/relationships/tags" Target="../tags/tag310.xml"/><Relationship Id="rId1" Type="http://schemas.openxmlformats.org/officeDocument/2006/relationships/vmlDrawing" Target="../drawings/vmlDrawing20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4.bin"/><Relationship Id="rId4" Type="http://schemas.openxmlformats.org/officeDocument/2006/relationships/slideMaster" Target="../slideMasters/slideMaster5.xml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tags" Target="../tags/tag313.xml"/><Relationship Id="rId7" Type="http://schemas.openxmlformats.org/officeDocument/2006/relationships/image" Target="../media/image1.emf"/><Relationship Id="rId2" Type="http://schemas.openxmlformats.org/officeDocument/2006/relationships/tags" Target="../tags/tag312.xml"/><Relationship Id="rId1" Type="http://schemas.openxmlformats.org/officeDocument/2006/relationships/vmlDrawing" Target="../drawings/vmlDrawing205.vml"/><Relationship Id="rId6" Type="http://schemas.openxmlformats.org/officeDocument/2006/relationships/oleObject" Target="../embeddings/oleObject205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14.xml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tags" Target="../tags/tag316.xml"/><Relationship Id="rId2" Type="http://schemas.openxmlformats.org/officeDocument/2006/relationships/tags" Target="../tags/tag315.xml"/><Relationship Id="rId1" Type="http://schemas.openxmlformats.org/officeDocument/2006/relationships/vmlDrawing" Target="../drawings/vmlDrawing20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6.bin"/><Relationship Id="rId4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0.xml.rels><?xml version="1.0" encoding="UTF-8" standalone="yes"?>
<Relationships xmlns="http://schemas.openxmlformats.org/package/2006/relationships"><Relationship Id="rId3" Type="http://schemas.openxmlformats.org/officeDocument/2006/relationships/tags" Target="../tags/tag318.xml"/><Relationship Id="rId2" Type="http://schemas.openxmlformats.org/officeDocument/2006/relationships/tags" Target="../tags/tag317.xml"/><Relationship Id="rId1" Type="http://schemas.openxmlformats.org/officeDocument/2006/relationships/vmlDrawing" Target="../drawings/vmlDrawing20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7.bin"/><Relationship Id="rId4" Type="http://schemas.openxmlformats.org/officeDocument/2006/relationships/slideMaster" Target="../slideMasters/slideMaster5.xml"/></Relationships>
</file>

<file path=ppt/slideLayouts/_rels/slideLayout401.xml.rels><?xml version="1.0" encoding="UTF-8" standalone="yes"?>
<Relationships xmlns="http://schemas.openxmlformats.org/package/2006/relationships"><Relationship Id="rId3" Type="http://schemas.openxmlformats.org/officeDocument/2006/relationships/tags" Target="../tags/tag320.xml"/><Relationship Id="rId7" Type="http://schemas.openxmlformats.org/officeDocument/2006/relationships/image" Target="../media/image6.png"/><Relationship Id="rId2" Type="http://schemas.openxmlformats.org/officeDocument/2006/relationships/tags" Target="../tags/tag319.xml"/><Relationship Id="rId1" Type="http://schemas.openxmlformats.org/officeDocument/2006/relationships/vmlDrawing" Target="../drawings/vmlDrawing20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8.bin"/><Relationship Id="rId4" Type="http://schemas.openxmlformats.org/officeDocument/2006/relationships/slideMaster" Target="../slideMasters/slideMaster5.xml"/></Relationships>
</file>

<file path=ppt/slideLayouts/_rels/slideLayout402.xml.rels><?xml version="1.0" encoding="UTF-8" standalone="yes"?>
<Relationships xmlns="http://schemas.openxmlformats.org/package/2006/relationships"><Relationship Id="rId3" Type="http://schemas.openxmlformats.org/officeDocument/2006/relationships/tags" Target="../tags/tag322.xml"/><Relationship Id="rId7" Type="http://schemas.openxmlformats.org/officeDocument/2006/relationships/image" Target="../media/image1.emf"/><Relationship Id="rId2" Type="http://schemas.openxmlformats.org/officeDocument/2006/relationships/tags" Target="../tags/tag321.xml"/><Relationship Id="rId1" Type="http://schemas.openxmlformats.org/officeDocument/2006/relationships/vmlDrawing" Target="../drawings/vmlDrawing209.vml"/><Relationship Id="rId6" Type="http://schemas.openxmlformats.org/officeDocument/2006/relationships/oleObject" Target="../embeddings/oleObject209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23.xml"/></Relationships>
</file>

<file path=ppt/slideLayouts/_rels/slideLayout403.xml.rels><?xml version="1.0" encoding="UTF-8" standalone="yes"?>
<Relationships xmlns="http://schemas.openxmlformats.org/package/2006/relationships"><Relationship Id="rId3" Type="http://schemas.openxmlformats.org/officeDocument/2006/relationships/tags" Target="../tags/tag325.xml"/><Relationship Id="rId2" Type="http://schemas.openxmlformats.org/officeDocument/2006/relationships/tags" Target="../tags/tag324.xml"/><Relationship Id="rId1" Type="http://schemas.openxmlformats.org/officeDocument/2006/relationships/vmlDrawing" Target="../drawings/vmlDrawing2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0.bin"/><Relationship Id="rId4" Type="http://schemas.openxmlformats.org/officeDocument/2006/relationships/slideMaster" Target="../slideMasters/slideMaster5.xml"/></Relationships>
</file>

<file path=ppt/slideLayouts/_rels/slideLayout404.xml.rels><?xml version="1.0" encoding="UTF-8" standalone="yes"?>
<Relationships xmlns="http://schemas.openxmlformats.org/package/2006/relationships"><Relationship Id="rId3" Type="http://schemas.openxmlformats.org/officeDocument/2006/relationships/tags" Target="../tags/tag327.xml"/><Relationship Id="rId2" Type="http://schemas.openxmlformats.org/officeDocument/2006/relationships/tags" Target="../tags/tag326.xml"/><Relationship Id="rId1" Type="http://schemas.openxmlformats.org/officeDocument/2006/relationships/vmlDrawing" Target="../drawings/vmlDrawing2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1.bin"/><Relationship Id="rId4" Type="http://schemas.openxmlformats.org/officeDocument/2006/relationships/slideMaster" Target="../slideMasters/slideMaster5.xml"/></Relationships>
</file>

<file path=ppt/slideLayouts/_rels/slideLayout405.xml.rels><?xml version="1.0" encoding="UTF-8" standalone="yes"?>
<Relationships xmlns="http://schemas.openxmlformats.org/package/2006/relationships"><Relationship Id="rId3" Type="http://schemas.openxmlformats.org/officeDocument/2006/relationships/tags" Target="../tags/tag329.xml"/><Relationship Id="rId7" Type="http://schemas.openxmlformats.org/officeDocument/2006/relationships/image" Target="../media/image6.png"/><Relationship Id="rId2" Type="http://schemas.openxmlformats.org/officeDocument/2006/relationships/tags" Target="../tags/tag328.xml"/><Relationship Id="rId1" Type="http://schemas.openxmlformats.org/officeDocument/2006/relationships/vmlDrawing" Target="../drawings/vmlDrawing2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2.bin"/><Relationship Id="rId4" Type="http://schemas.openxmlformats.org/officeDocument/2006/relationships/slideMaster" Target="../slideMasters/slideMaster5.xml"/></Relationships>
</file>

<file path=ppt/slideLayouts/_rels/slideLayout406.xml.rels><?xml version="1.0" encoding="UTF-8" standalone="yes"?>
<Relationships xmlns="http://schemas.openxmlformats.org/package/2006/relationships"><Relationship Id="rId3" Type="http://schemas.openxmlformats.org/officeDocument/2006/relationships/tags" Target="../tags/tag331.xml"/><Relationship Id="rId7" Type="http://schemas.openxmlformats.org/officeDocument/2006/relationships/image" Target="../media/image7.png"/><Relationship Id="rId2" Type="http://schemas.openxmlformats.org/officeDocument/2006/relationships/tags" Target="../tags/tag330.xml"/><Relationship Id="rId1" Type="http://schemas.openxmlformats.org/officeDocument/2006/relationships/vmlDrawing" Target="../drawings/vmlDrawing2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3.bin"/><Relationship Id="rId4" Type="http://schemas.openxmlformats.org/officeDocument/2006/relationships/slideMaster" Target="../slideMasters/slideMaster5.xml"/></Relationships>
</file>

<file path=ppt/slideLayouts/_rels/slideLayout407.xml.rels><?xml version="1.0" encoding="UTF-8" standalone="yes"?>
<Relationships xmlns="http://schemas.openxmlformats.org/package/2006/relationships"><Relationship Id="rId3" Type="http://schemas.openxmlformats.org/officeDocument/2006/relationships/tags" Target="../tags/tag333.xml"/><Relationship Id="rId7" Type="http://schemas.openxmlformats.org/officeDocument/2006/relationships/image" Target="../media/image1.emf"/><Relationship Id="rId2" Type="http://schemas.openxmlformats.org/officeDocument/2006/relationships/tags" Target="../tags/tag332.xml"/><Relationship Id="rId1" Type="http://schemas.openxmlformats.org/officeDocument/2006/relationships/vmlDrawing" Target="../drawings/vmlDrawing214.vml"/><Relationship Id="rId6" Type="http://schemas.openxmlformats.org/officeDocument/2006/relationships/oleObject" Target="../embeddings/oleObject214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34.xml"/></Relationships>
</file>

<file path=ppt/slideLayouts/_rels/slideLayout408.xml.rels><?xml version="1.0" encoding="UTF-8" standalone="yes"?>
<Relationships xmlns="http://schemas.openxmlformats.org/package/2006/relationships"><Relationship Id="rId3" Type="http://schemas.openxmlformats.org/officeDocument/2006/relationships/tags" Target="../tags/tag336.xml"/><Relationship Id="rId2" Type="http://schemas.openxmlformats.org/officeDocument/2006/relationships/tags" Target="../tags/tag335.xml"/><Relationship Id="rId1" Type="http://schemas.openxmlformats.org/officeDocument/2006/relationships/vmlDrawing" Target="../drawings/vmlDrawing2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5.bin"/><Relationship Id="rId4" Type="http://schemas.openxmlformats.org/officeDocument/2006/relationships/slideMaster" Target="../slideMasters/slideMaster5.xml"/></Relationships>
</file>

<file path=ppt/slideLayouts/_rels/slideLayout409.xml.rels><?xml version="1.0" encoding="UTF-8" standalone="yes"?>
<Relationships xmlns="http://schemas.openxmlformats.org/package/2006/relationships"><Relationship Id="rId3" Type="http://schemas.openxmlformats.org/officeDocument/2006/relationships/tags" Target="../tags/tag338.xml"/><Relationship Id="rId2" Type="http://schemas.openxmlformats.org/officeDocument/2006/relationships/tags" Target="../tags/tag337.xml"/><Relationship Id="rId1" Type="http://schemas.openxmlformats.org/officeDocument/2006/relationships/vmlDrawing" Target="../drawings/vmlDrawing2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6.bin"/><Relationship Id="rId4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tags" Target="../tags/tag340.xml"/><Relationship Id="rId7" Type="http://schemas.openxmlformats.org/officeDocument/2006/relationships/image" Target="../media/image6.png"/><Relationship Id="rId2" Type="http://schemas.openxmlformats.org/officeDocument/2006/relationships/tags" Target="../tags/tag339.xml"/><Relationship Id="rId1" Type="http://schemas.openxmlformats.org/officeDocument/2006/relationships/vmlDrawing" Target="../drawings/vmlDrawing2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7.bin"/><Relationship Id="rId4" Type="http://schemas.openxmlformats.org/officeDocument/2006/relationships/slideMaster" Target="../slideMasters/slideMaster5.xml"/></Relationships>
</file>

<file path=ppt/slideLayouts/_rels/slideLayout411.xml.rels><?xml version="1.0" encoding="UTF-8" standalone="yes"?>
<Relationships xmlns="http://schemas.openxmlformats.org/package/2006/relationships"><Relationship Id="rId3" Type="http://schemas.openxmlformats.org/officeDocument/2006/relationships/tags" Target="../tags/tag342.xml"/><Relationship Id="rId7" Type="http://schemas.openxmlformats.org/officeDocument/2006/relationships/image" Target="../media/image1.emf"/><Relationship Id="rId2" Type="http://schemas.openxmlformats.org/officeDocument/2006/relationships/tags" Target="../tags/tag341.xml"/><Relationship Id="rId1" Type="http://schemas.openxmlformats.org/officeDocument/2006/relationships/vmlDrawing" Target="../drawings/vmlDrawing218.vml"/><Relationship Id="rId6" Type="http://schemas.openxmlformats.org/officeDocument/2006/relationships/oleObject" Target="../embeddings/oleObject218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43.xml"/></Relationships>
</file>

<file path=ppt/slideLayouts/_rels/slideLayout412.xml.rels><?xml version="1.0" encoding="UTF-8" standalone="yes"?>
<Relationships xmlns="http://schemas.openxmlformats.org/package/2006/relationships"><Relationship Id="rId3" Type="http://schemas.openxmlformats.org/officeDocument/2006/relationships/tags" Target="../tags/tag345.xml"/><Relationship Id="rId2" Type="http://schemas.openxmlformats.org/officeDocument/2006/relationships/tags" Target="../tags/tag344.xml"/><Relationship Id="rId1" Type="http://schemas.openxmlformats.org/officeDocument/2006/relationships/vmlDrawing" Target="../drawings/vmlDrawing2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9.bin"/><Relationship Id="rId4" Type="http://schemas.openxmlformats.org/officeDocument/2006/relationships/slideMaster" Target="../slideMasters/slideMaster5.xml"/></Relationships>
</file>

<file path=ppt/slideLayouts/_rels/slideLayout413.xml.rels><?xml version="1.0" encoding="UTF-8" standalone="yes"?>
<Relationships xmlns="http://schemas.openxmlformats.org/package/2006/relationships"><Relationship Id="rId3" Type="http://schemas.openxmlformats.org/officeDocument/2006/relationships/tags" Target="../tags/tag347.xml"/><Relationship Id="rId2" Type="http://schemas.openxmlformats.org/officeDocument/2006/relationships/tags" Target="../tags/tag346.xml"/><Relationship Id="rId1" Type="http://schemas.openxmlformats.org/officeDocument/2006/relationships/vmlDrawing" Target="../drawings/vmlDrawing2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0.bin"/><Relationship Id="rId4" Type="http://schemas.openxmlformats.org/officeDocument/2006/relationships/slideMaster" Target="../slideMasters/slideMaster5.xml"/></Relationships>
</file>

<file path=ppt/slideLayouts/_rels/slideLayout414.xml.rels><?xml version="1.0" encoding="UTF-8" standalone="yes"?>
<Relationships xmlns="http://schemas.openxmlformats.org/package/2006/relationships"><Relationship Id="rId3" Type="http://schemas.openxmlformats.org/officeDocument/2006/relationships/tags" Target="../tags/tag349.xml"/><Relationship Id="rId7" Type="http://schemas.openxmlformats.org/officeDocument/2006/relationships/image" Target="../media/image6.png"/><Relationship Id="rId2" Type="http://schemas.openxmlformats.org/officeDocument/2006/relationships/tags" Target="../tags/tag348.xml"/><Relationship Id="rId1" Type="http://schemas.openxmlformats.org/officeDocument/2006/relationships/vmlDrawing" Target="../drawings/vmlDrawing2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1.bin"/><Relationship Id="rId4" Type="http://schemas.openxmlformats.org/officeDocument/2006/relationships/slideMaster" Target="../slideMasters/slideMaster5.xml"/></Relationships>
</file>

<file path=ppt/slideLayouts/_rels/slideLayout415.xml.rels><?xml version="1.0" encoding="UTF-8" standalone="yes"?>
<Relationships xmlns="http://schemas.openxmlformats.org/package/2006/relationships"><Relationship Id="rId3" Type="http://schemas.openxmlformats.org/officeDocument/2006/relationships/tags" Target="../tags/tag351.xml"/><Relationship Id="rId7" Type="http://schemas.openxmlformats.org/officeDocument/2006/relationships/image" Target="../media/image7.png"/><Relationship Id="rId2" Type="http://schemas.openxmlformats.org/officeDocument/2006/relationships/tags" Target="../tags/tag350.xml"/><Relationship Id="rId1" Type="http://schemas.openxmlformats.org/officeDocument/2006/relationships/vmlDrawing" Target="../drawings/vmlDrawing2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2.bin"/><Relationship Id="rId4" Type="http://schemas.openxmlformats.org/officeDocument/2006/relationships/slideMaster" Target="../slideMasters/slideMaster5.xml"/></Relationships>
</file>

<file path=ppt/slideLayouts/_rels/slideLayout416.xml.rels><?xml version="1.0" encoding="UTF-8" standalone="yes"?>
<Relationships xmlns="http://schemas.openxmlformats.org/package/2006/relationships"><Relationship Id="rId3" Type="http://schemas.openxmlformats.org/officeDocument/2006/relationships/tags" Target="../tags/tag353.xml"/><Relationship Id="rId7" Type="http://schemas.openxmlformats.org/officeDocument/2006/relationships/image" Target="../media/image1.emf"/><Relationship Id="rId2" Type="http://schemas.openxmlformats.org/officeDocument/2006/relationships/tags" Target="../tags/tag352.xml"/><Relationship Id="rId1" Type="http://schemas.openxmlformats.org/officeDocument/2006/relationships/vmlDrawing" Target="../drawings/vmlDrawing223.vml"/><Relationship Id="rId6" Type="http://schemas.openxmlformats.org/officeDocument/2006/relationships/oleObject" Target="../embeddings/oleObject223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54.xml"/></Relationships>
</file>

<file path=ppt/slideLayouts/_rels/slideLayout417.xml.rels><?xml version="1.0" encoding="UTF-8" standalone="yes"?>
<Relationships xmlns="http://schemas.openxmlformats.org/package/2006/relationships"><Relationship Id="rId3" Type="http://schemas.openxmlformats.org/officeDocument/2006/relationships/tags" Target="../tags/tag356.xml"/><Relationship Id="rId2" Type="http://schemas.openxmlformats.org/officeDocument/2006/relationships/tags" Target="../tags/tag355.xml"/><Relationship Id="rId1" Type="http://schemas.openxmlformats.org/officeDocument/2006/relationships/vmlDrawing" Target="../drawings/vmlDrawing2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4.bin"/><Relationship Id="rId4" Type="http://schemas.openxmlformats.org/officeDocument/2006/relationships/slideMaster" Target="../slideMasters/slideMaster5.xml"/></Relationships>
</file>

<file path=ppt/slideLayouts/_rels/slideLayout418.xml.rels><?xml version="1.0" encoding="UTF-8" standalone="yes"?>
<Relationships xmlns="http://schemas.openxmlformats.org/package/2006/relationships"><Relationship Id="rId3" Type="http://schemas.openxmlformats.org/officeDocument/2006/relationships/tags" Target="../tags/tag358.xml"/><Relationship Id="rId2" Type="http://schemas.openxmlformats.org/officeDocument/2006/relationships/tags" Target="../tags/tag357.xml"/><Relationship Id="rId1" Type="http://schemas.openxmlformats.org/officeDocument/2006/relationships/vmlDrawing" Target="../drawings/vmlDrawing2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5.bin"/><Relationship Id="rId4" Type="http://schemas.openxmlformats.org/officeDocument/2006/relationships/slideMaster" Target="../slideMasters/slideMaster5.xml"/></Relationships>
</file>

<file path=ppt/slideLayouts/_rels/slideLayout419.xml.rels><?xml version="1.0" encoding="UTF-8" standalone="yes"?>
<Relationships xmlns="http://schemas.openxmlformats.org/package/2006/relationships"><Relationship Id="rId3" Type="http://schemas.openxmlformats.org/officeDocument/2006/relationships/tags" Target="../tags/tag360.xml"/><Relationship Id="rId7" Type="http://schemas.openxmlformats.org/officeDocument/2006/relationships/image" Target="../media/image6.png"/><Relationship Id="rId2" Type="http://schemas.openxmlformats.org/officeDocument/2006/relationships/tags" Target="../tags/tag359.xml"/><Relationship Id="rId1" Type="http://schemas.openxmlformats.org/officeDocument/2006/relationships/vmlDrawing" Target="../drawings/vmlDrawing2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6.bin"/><Relationship Id="rId4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8.bin"/></Relationships>
</file>

<file path=ppt/slideLayouts/_rels/slideLayout420.xml.rels><?xml version="1.0" encoding="UTF-8" standalone="yes"?>
<Relationships xmlns="http://schemas.openxmlformats.org/package/2006/relationships"><Relationship Id="rId3" Type="http://schemas.openxmlformats.org/officeDocument/2006/relationships/tags" Target="../tags/tag362.xml"/><Relationship Id="rId7" Type="http://schemas.openxmlformats.org/officeDocument/2006/relationships/image" Target="../media/image1.emf"/><Relationship Id="rId2" Type="http://schemas.openxmlformats.org/officeDocument/2006/relationships/tags" Target="../tags/tag361.xml"/><Relationship Id="rId1" Type="http://schemas.openxmlformats.org/officeDocument/2006/relationships/vmlDrawing" Target="../drawings/vmlDrawing227.vml"/><Relationship Id="rId6" Type="http://schemas.openxmlformats.org/officeDocument/2006/relationships/oleObject" Target="../embeddings/oleObject227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63.xml"/></Relationships>
</file>

<file path=ppt/slideLayouts/_rels/slideLayout421.xml.rels><?xml version="1.0" encoding="UTF-8" standalone="yes"?>
<Relationships xmlns="http://schemas.openxmlformats.org/package/2006/relationships"><Relationship Id="rId3" Type="http://schemas.openxmlformats.org/officeDocument/2006/relationships/tags" Target="../tags/tag365.xml"/><Relationship Id="rId2" Type="http://schemas.openxmlformats.org/officeDocument/2006/relationships/tags" Target="../tags/tag364.xml"/><Relationship Id="rId1" Type="http://schemas.openxmlformats.org/officeDocument/2006/relationships/vmlDrawing" Target="../drawings/vmlDrawing2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8.bin"/><Relationship Id="rId4" Type="http://schemas.openxmlformats.org/officeDocument/2006/relationships/slideMaster" Target="../slideMasters/slideMaster5.xml"/></Relationships>
</file>

<file path=ppt/slideLayouts/_rels/slideLayout422.xml.rels><?xml version="1.0" encoding="UTF-8" standalone="yes"?>
<Relationships xmlns="http://schemas.openxmlformats.org/package/2006/relationships"><Relationship Id="rId3" Type="http://schemas.openxmlformats.org/officeDocument/2006/relationships/tags" Target="../tags/tag367.xml"/><Relationship Id="rId2" Type="http://schemas.openxmlformats.org/officeDocument/2006/relationships/tags" Target="../tags/tag366.xml"/><Relationship Id="rId1" Type="http://schemas.openxmlformats.org/officeDocument/2006/relationships/vmlDrawing" Target="../drawings/vmlDrawing2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9.bin"/><Relationship Id="rId4" Type="http://schemas.openxmlformats.org/officeDocument/2006/relationships/slideMaster" Target="../slideMasters/slideMaster5.xml"/></Relationships>
</file>

<file path=ppt/slideLayouts/_rels/slideLayout423.xml.rels><?xml version="1.0" encoding="UTF-8" standalone="yes"?>
<Relationships xmlns="http://schemas.openxmlformats.org/package/2006/relationships"><Relationship Id="rId3" Type="http://schemas.openxmlformats.org/officeDocument/2006/relationships/tags" Target="../tags/tag369.xml"/><Relationship Id="rId7" Type="http://schemas.openxmlformats.org/officeDocument/2006/relationships/image" Target="../media/image6.png"/><Relationship Id="rId2" Type="http://schemas.openxmlformats.org/officeDocument/2006/relationships/tags" Target="../tags/tag368.xml"/><Relationship Id="rId1" Type="http://schemas.openxmlformats.org/officeDocument/2006/relationships/vmlDrawing" Target="../drawings/vmlDrawing2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0.bin"/><Relationship Id="rId4" Type="http://schemas.openxmlformats.org/officeDocument/2006/relationships/slideMaster" Target="../slideMasters/slideMaster5.xml"/></Relationships>
</file>

<file path=ppt/slideLayouts/_rels/slideLayout424.xml.rels><?xml version="1.0" encoding="UTF-8" standalone="yes"?>
<Relationships xmlns="http://schemas.openxmlformats.org/package/2006/relationships"><Relationship Id="rId3" Type="http://schemas.openxmlformats.org/officeDocument/2006/relationships/tags" Target="../tags/tag371.xml"/><Relationship Id="rId7" Type="http://schemas.openxmlformats.org/officeDocument/2006/relationships/image" Target="../media/image7.png"/><Relationship Id="rId2" Type="http://schemas.openxmlformats.org/officeDocument/2006/relationships/tags" Target="../tags/tag370.xml"/><Relationship Id="rId1" Type="http://schemas.openxmlformats.org/officeDocument/2006/relationships/vmlDrawing" Target="../drawings/vmlDrawing2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1.bin"/><Relationship Id="rId4" Type="http://schemas.openxmlformats.org/officeDocument/2006/relationships/slideMaster" Target="../slideMasters/slideMaster5.xml"/></Relationships>
</file>

<file path=ppt/slideLayouts/_rels/slideLayout425.xml.rels><?xml version="1.0" encoding="UTF-8" standalone="yes"?>
<Relationships xmlns="http://schemas.openxmlformats.org/package/2006/relationships"><Relationship Id="rId3" Type="http://schemas.openxmlformats.org/officeDocument/2006/relationships/tags" Target="../tags/tag373.xml"/><Relationship Id="rId7" Type="http://schemas.openxmlformats.org/officeDocument/2006/relationships/image" Target="../media/image1.emf"/><Relationship Id="rId2" Type="http://schemas.openxmlformats.org/officeDocument/2006/relationships/tags" Target="../tags/tag372.xml"/><Relationship Id="rId1" Type="http://schemas.openxmlformats.org/officeDocument/2006/relationships/vmlDrawing" Target="../drawings/vmlDrawing232.vml"/><Relationship Id="rId6" Type="http://schemas.openxmlformats.org/officeDocument/2006/relationships/oleObject" Target="../embeddings/oleObject232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74.xml"/></Relationships>
</file>

<file path=ppt/slideLayouts/_rels/slideLayout426.xml.rels><?xml version="1.0" encoding="UTF-8" standalone="yes"?>
<Relationships xmlns="http://schemas.openxmlformats.org/package/2006/relationships"><Relationship Id="rId3" Type="http://schemas.openxmlformats.org/officeDocument/2006/relationships/tags" Target="../tags/tag376.xml"/><Relationship Id="rId2" Type="http://schemas.openxmlformats.org/officeDocument/2006/relationships/tags" Target="../tags/tag375.xml"/><Relationship Id="rId1" Type="http://schemas.openxmlformats.org/officeDocument/2006/relationships/vmlDrawing" Target="../drawings/vmlDrawing2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3.bin"/><Relationship Id="rId4" Type="http://schemas.openxmlformats.org/officeDocument/2006/relationships/slideMaster" Target="../slideMasters/slideMaster5.xml"/></Relationships>
</file>

<file path=ppt/slideLayouts/_rels/slideLayout427.xml.rels><?xml version="1.0" encoding="UTF-8" standalone="yes"?>
<Relationships xmlns="http://schemas.openxmlformats.org/package/2006/relationships"><Relationship Id="rId3" Type="http://schemas.openxmlformats.org/officeDocument/2006/relationships/tags" Target="../tags/tag378.xml"/><Relationship Id="rId2" Type="http://schemas.openxmlformats.org/officeDocument/2006/relationships/tags" Target="../tags/tag377.xml"/><Relationship Id="rId1" Type="http://schemas.openxmlformats.org/officeDocument/2006/relationships/vmlDrawing" Target="../drawings/vmlDrawing2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4.bin"/><Relationship Id="rId4" Type="http://schemas.openxmlformats.org/officeDocument/2006/relationships/slideMaster" Target="../slideMasters/slideMaster5.xml"/></Relationships>
</file>

<file path=ppt/slideLayouts/_rels/slideLayout428.xml.rels><?xml version="1.0" encoding="UTF-8" standalone="yes"?>
<Relationships xmlns="http://schemas.openxmlformats.org/package/2006/relationships"><Relationship Id="rId3" Type="http://schemas.openxmlformats.org/officeDocument/2006/relationships/tags" Target="../tags/tag380.xml"/><Relationship Id="rId7" Type="http://schemas.openxmlformats.org/officeDocument/2006/relationships/image" Target="../media/image6.png"/><Relationship Id="rId2" Type="http://schemas.openxmlformats.org/officeDocument/2006/relationships/tags" Target="../tags/tag379.xml"/><Relationship Id="rId1" Type="http://schemas.openxmlformats.org/officeDocument/2006/relationships/vmlDrawing" Target="../drawings/vmlDrawing2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5.bin"/><Relationship Id="rId4" Type="http://schemas.openxmlformats.org/officeDocument/2006/relationships/slideMaster" Target="../slideMasters/slideMaster5.xml"/></Relationships>
</file>

<file path=ppt/slideLayouts/_rels/slideLayout429.xml.rels><?xml version="1.0" encoding="UTF-8" standalone="yes"?>
<Relationships xmlns="http://schemas.openxmlformats.org/package/2006/relationships"><Relationship Id="rId3" Type="http://schemas.openxmlformats.org/officeDocument/2006/relationships/tags" Target="../tags/tag382.xml"/><Relationship Id="rId7" Type="http://schemas.openxmlformats.org/officeDocument/2006/relationships/image" Target="../media/image1.emf"/><Relationship Id="rId2" Type="http://schemas.openxmlformats.org/officeDocument/2006/relationships/tags" Target="../tags/tag381.xml"/><Relationship Id="rId1" Type="http://schemas.openxmlformats.org/officeDocument/2006/relationships/vmlDrawing" Target="../drawings/vmlDrawing236.vml"/><Relationship Id="rId6" Type="http://schemas.openxmlformats.org/officeDocument/2006/relationships/oleObject" Target="../embeddings/oleObject236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8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30.xml.rels><?xml version="1.0" encoding="UTF-8" standalone="yes"?>
<Relationships xmlns="http://schemas.openxmlformats.org/package/2006/relationships"><Relationship Id="rId3" Type="http://schemas.openxmlformats.org/officeDocument/2006/relationships/tags" Target="../tags/tag385.xml"/><Relationship Id="rId2" Type="http://schemas.openxmlformats.org/officeDocument/2006/relationships/tags" Target="../tags/tag384.xml"/><Relationship Id="rId1" Type="http://schemas.openxmlformats.org/officeDocument/2006/relationships/vmlDrawing" Target="../drawings/vmlDrawing2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7.bin"/><Relationship Id="rId4" Type="http://schemas.openxmlformats.org/officeDocument/2006/relationships/slideMaster" Target="../slideMasters/slideMaster5.xml"/></Relationships>
</file>

<file path=ppt/slideLayouts/_rels/slideLayout431.xml.rels><?xml version="1.0" encoding="UTF-8" standalone="yes"?>
<Relationships xmlns="http://schemas.openxmlformats.org/package/2006/relationships"><Relationship Id="rId3" Type="http://schemas.openxmlformats.org/officeDocument/2006/relationships/tags" Target="../tags/tag387.xml"/><Relationship Id="rId2" Type="http://schemas.openxmlformats.org/officeDocument/2006/relationships/tags" Target="../tags/tag386.xml"/><Relationship Id="rId1" Type="http://schemas.openxmlformats.org/officeDocument/2006/relationships/vmlDrawing" Target="../drawings/vmlDrawing2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8.bin"/><Relationship Id="rId4" Type="http://schemas.openxmlformats.org/officeDocument/2006/relationships/slideMaster" Target="../slideMasters/slideMaster5.xml"/></Relationships>
</file>

<file path=ppt/slideLayouts/_rels/slideLayout432.xml.rels><?xml version="1.0" encoding="UTF-8" standalone="yes"?>
<Relationships xmlns="http://schemas.openxmlformats.org/package/2006/relationships"><Relationship Id="rId3" Type="http://schemas.openxmlformats.org/officeDocument/2006/relationships/tags" Target="../tags/tag389.xml"/><Relationship Id="rId7" Type="http://schemas.openxmlformats.org/officeDocument/2006/relationships/image" Target="../media/image6.png"/><Relationship Id="rId2" Type="http://schemas.openxmlformats.org/officeDocument/2006/relationships/tags" Target="../tags/tag388.xml"/><Relationship Id="rId1" Type="http://schemas.openxmlformats.org/officeDocument/2006/relationships/vmlDrawing" Target="../drawings/vmlDrawing2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9.bin"/><Relationship Id="rId4" Type="http://schemas.openxmlformats.org/officeDocument/2006/relationships/slideMaster" Target="../slideMasters/slideMaster5.xml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tags" Target="../tags/tag391.xml"/><Relationship Id="rId7" Type="http://schemas.openxmlformats.org/officeDocument/2006/relationships/image" Target="../media/image7.png"/><Relationship Id="rId2" Type="http://schemas.openxmlformats.org/officeDocument/2006/relationships/tags" Target="../tags/tag390.xml"/><Relationship Id="rId1" Type="http://schemas.openxmlformats.org/officeDocument/2006/relationships/vmlDrawing" Target="../drawings/vmlDrawing2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0.bin"/><Relationship Id="rId4" Type="http://schemas.openxmlformats.org/officeDocument/2006/relationships/slideMaster" Target="../slideMasters/slideMaster5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7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6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1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6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6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7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1.emf"/><Relationship Id="rId2" Type="http://schemas.openxmlformats.org/officeDocument/2006/relationships/tags" Target="../tags/tag35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6.png"/><Relationship Id="rId2" Type="http://schemas.openxmlformats.org/officeDocument/2006/relationships/tags" Target="../tags/tag4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1.emf"/><Relationship Id="rId2" Type="http://schemas.openxmlformats.org/officeDocument/2006/relationships/tags" Target="../tags/tag44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image" Target="../media/image6.png"/><Relationship Id="rId2" Type="http://schemas.openxmlformats.org/officeDocument/2006/relationships/tags" Target="../tags/tag51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7" Type="http://schemas.openxmlformats.org/officeDocument/2006/relationships/image" Target="../media/image7.png"/><Relationship Id="rId2" Type="http://schemas.openxmlformats.org/officeDocument/2006/relationships/tags" Target="../tags/tag53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image" Target="../media/image1.emf"/><Relationship Id="rId2" Type="http://schemas.openxmlformats.org/officeDocument/2006/relationships/tags" Target="../tags/tag55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image" Target="../media/image6.png"/><Relationship Id="rId2" Type="http://schemas.openxmlformats.org/officeDocument/2006/relationships/tags" Target="../tags/tag62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image" Target="../media/image1.emf"/><Relationship Id="rId2" Type="http://schemas.openxmlformats.org/officeDocument/2006/relationships/tags" Target="../tags/tag64.xml"/><Relationship Id="rId1" Type="http://schemas.openxmlformats.org/officeDocument/2006/relationships/vmlDrawing" Target="../drawings/vmlDrawing33.vml"/><Relationship Id="rId6" Type="http://schemas.openxmlformats.org/officeDocument/2006/relationships/oleObject" Target="../embeddings/oleObject3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6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7" Type="http://schemas.openxmlformats.org/officeDocument/2006/relationships/image" Target="../media/image6.png"/><Relationship Id="rId2" Type="http://schemas.openxmlformats.org/officeDocument/2006/relationships/tags" Target="../tags/tag71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image" Target="../media/image7.png"/><Relationship Id="rId2" Type="http://schemas.openxmlformats.org/officeDocument/2006/relationships/tags" Target="../tags/tag73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7" Type="http://schemas.openxmlformats.org/officeDocument/2006/relationships/image" Target="../media/image1.emf"/><Relationship Id="rId2" Type="http://schemas.openxmlformats.org/officeDocument/2006/relationships/tags" Target="../tags/tag75.xml"/><Relationship Id="rId1" Type="http://schemas.openxmlformats.org/officeDocument/2006/relationships/vmlDrawing" Target="../drawings/vmlDrawing38.vml"/><Relationship Id="rId6" Type="http://schemas.openxmlformats.org/officeDocument/2006/relationships/oleObject" Target="../embeddings/oleObject3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7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image" Target="../media/image6.png"/><Relationship Id="rId2" Type="http://schemas.openxmlformats.org/officeDocument/2006/relationships/tags" Target="../tags/tag8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7" Type="http://schemas.openxmlformats.org/officeDocument/2006/relationships/image" Target="../media/image1.emf"/><Relationship Id="rId2" Type="http://schemas.openxmlformats.org/officeDocument/2006/relationships/tags" Target="../tags/tag84.xml"/><Relationship Id="rId1" Type="http://schemas.openxmlformats.org/officeDocument/2006/relationships/vmlDrawing" Target="../drawings/vmlDrawing42.vml"/><Relationship Id="rId6" Type="http://schemas.openxmlformats.org/officeDocument/2006/relationships/oleObject" Target="../embeddings/oleObject4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6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2" Type="http://schemas.openxmlformats.org/officeDocument/2006/relationships/tags" Target="../tags/tag89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1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7" Type="http://schemas.openxmlformats.org/officeDocument/2006/relationships/image" Target="../media/image6.png"/><Relationship Id="rId2" Type="http://schemas.openxmlformats.org/officeDocument/2006/relationships/tags" Target="../tags/tag91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7" Type="http://schemas.openxmlformats.org/officeDocument/2006/relationships/image" Target="../media/image7.png"/><Relationship Id="rId2" Type="http://schemas.openxmlformats.org/officeDocument/2006/relationships/tags" Target="../tags/tag93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7" Type="http://schemas.openxmlformats.org/officeDocument/2006/relationships/image" Target="../media/image1.emf"/><Relationship Id="rId2" Type="http://schemas.openxmlformats.org/officeDocument/2006/relationships/tags" Target="../tags/tag95.xml"/><Relationship Id="rId1" Type="http://schemas.openxmlformats.org/officeDocument/2006/relationships/vmlDrawing" Target="../drawings/vmlDrawing47.vml"/><Relationship Id="rId6" Type="http://schemas.openxmlformats.org/officeDocument/2006/relationships/oleObject" Target="../embeddings/oleObject4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7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7" Type="http://schemas.openxmlformats.org/officeDocument/2006/relationships/image" Target="../media/image6.png"/><Relationship Id="rId2" Type="http://schemas.openxmlformats.org/officeDocument/2006/relationships/tags" Target="../tags/tag102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14361" y="6094939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014361" y="5382803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in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014361" y="1886242"/>
            <a:ext cx="68688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accent5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Title in Title Cas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7"/>
          <a:stretch>
            <a:fillRect/>
          </a:stretch>
        </p:blipFill>
        <p:spPr>
          <a:xfrm>
            <a:off x="1014361" y="0"/>
            <a:ext cx="3649041" cy="2098956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  <p:sp>
        <p:nvSpPr>
          <p:cNvPr id="15" name="Rectangle 7"/>
          <p:cNvSpPr txBox="1">
            <a:spLocks noChangeArrowheads="1"/>
          </p:cNvSpPr>
          <p:nvPr userDrawn="1"/>
        </p:nvSpPr>
        <p:spPr bwMode="auto">
          <a:xfrm>
            <a:off x="936741" y="6422087"/>
            <a:ext cx="4074858" cy="372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43" tIns="34271" rIns="68543" bIns="34271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en-US" sz="1800" b="0" i="0">
                <a:solidFill>
                  <a:srgbClr val="002060"/>
                </a:solidFill>
                <a:latin typeface="Franklin Gothic Demi" panose="020B0703020102020204" pitchFamily="34" charset="0"/>
                <a:cs typeface="Arial" charset="0"/>
              </a:rPr>
              <a:t>READY. RESOURCEFUL.</a:t>
            </a:r>
            <a:r>
              <a:rPr lang="en-US" altLang="en-US" sz="1800" b="0" i="0" baseline="0">
                <a:solidFill>
                  <a:srgbClr val="002060"/>
                </a:solidFill>
                <a:latin typeface="Franklin Gothic Demi" panose="020B0703020102020204" pitchFamily="34" charset="0"/>
                <a:cs typeface="Arial" charset="0"/>
              </a:rPr>
              <a:t> RESPONSIVE.</a:t>
            </a:r>
            <a:endParaRPr lang="en-US" altLang="en-US" sz="1800" b="0" i="0">
              <a:solidFill>
                <a:srgbClr val="002060"/>
              </a:solidFill>
              <a:latin typeface="Franklin Gothic Demi" panose="020B0703020102020204" pitchFamily="34" charset="0"/>
              <a:cs typeface="Arial" charset="0"/>
            </a:endParaRPr>
          </a:p>
        </p:txBody>
      </p:sp>
      <p:cxnSp>
        <p:nvCxnSpPr>
          <p:cNvPr id="18" name="Straight Connector 21"/>
          <p:cNvCxnSpPr>
            <a:cxnSpLocks noChangeShapeType="1"/>
          </p:cNvCxnSpPr>
          <p:nvPr userDrawn="1"/>
        </p:nvCxnSpPr>
        <p:spPr bwMode="auto">
          <a:xfrm>
            <a:off x="1014361" y="5017962"/>
            <a:ext cx="6868799" cy="6703"/>
          </a:xfrm>
          <a:prstGeom prst="line">
            <a:avLst/>
          </a:prstGeom>
          <a:noFill/>
          <a:ln w="25400" algn="ctr">
            <a:solidFill>
              <a:srgbClr val="FECB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083039" y="0"/>
            <a:ext cx="310896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4654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8317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5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/>
              <a:t>Agenda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97A8DF0-2BB4-FAA7-309A-A4446038DCB4}"/>
              </a:ext>
            </a:extLst>
          </p:cNvPr>
          <p:cNvGrpSpPr/>
          <p:nvPr userDrawn="1">
            <p:custDataLst>
              <p:tags r:id="rId4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E968B4F5-D90E-F3C4-B774-D997E47529A7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73635370-1BB2-8164-8A8B-10307D17C034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96DD5BD5-1E78-9ADA-8ED4-86E0A2C6CBEE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6811FE1F-C9BE-B18C-CEFF-C88C33DD27BA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A2071C35-0460-76F6-987B-203ECBFE5A38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8DCAC74F-C911-6195-AEE7-D98B5BE71D20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27291201-E6A4-9AB7-36D9-270242DA15DA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42E146B8-822C-3832-E48B-7101F0A56227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76284025-54D9-61D9-3232-A5BA045BE94B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8E181BD9-5BA7-9B36-E456-F40583BFB019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E0C0EC00-2733-EF1F-69A3-2178D27F3EED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D2FFB4ED-6510-A747-09E5-F5F6F0A99C07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B7731A7A-7546-DD7B-968D-7F100D102B94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DA8F74B2-1132-731A-7C24-E19AC8B7D001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8F9196FC-E1FE-01DC-7393-50CEBAE897F9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24E7C1E3-111D-09DF-9001-CA9A46AA3421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7A606CC3-0362-C97A-5888-E68C82E4DA63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79F6D672-10A9-FC19-AC1A-0D7C679896FC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9414BF3E-8CBE-871F-E295-F0C87272FA00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0571F196-2CCC-D241-B071-0C891032C26E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175D8B04-377C-D580-BD18-D8CF1E63437D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A4DAFA7A-A95B-756C-40C3-02045B1D6689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E6E83E81-F4F5-28B2-5EF6-0E96C38D8EC3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2" name="Rectangle 34">
                <a:extLst>
                  <a:ext uri="{FF2B5EF4-FFF2-40B4-BE49-F238E27FC236}">
                    <a16:creationId xmlns:a16="http://schemas.microsoft.com/office/drawing/2014/main" id="{AD82D0C7-843C-6F3E-5418-EF0023F68C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5">
                <a:extLst>
                  <a:ext uri="{FF2B5EF4-FFF2-40B4-BE49-F238E27FC236}">
                    <a16:creationId xmlns:a16="http://schemas.microsoft.com/office/drawing/2014/main" id="{A2A3120D-D450-3449-835F-D8F6410F53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6">
                <a:extLst>
                  <a:ext uri="{FF2B5EF4-FFF2-40B4-BE49-F238E27FC236}">
                    <a16:creationId xmlns:a16="http://schemas.microsoft.com/office/drawing/2014/main" id="{CA48442E-1939-CA26-00AB-7B009FF48B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7">
                <a:extLst>
                  <a:ext uri="{FF2B5EF4-FFF2-40B4-BE49-F238E27FC236}">
                    <a16:creationId xmlns:a16="http://schemas.microsoft.com/office/drawing/2014/main" id="{E8FC1C61-6D1F-3CD8-0578-1345D4F62B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8">
                <a:extLst>
                  <a:ext uri="{FF2B5EF4-FFF2-40B4-BE49-F238E27FC236}">
                    <a16:creationId xmlns:a16="http://schemas.microsoft.com/office/drawing/2014/main" id="{D4F551DD-F85B-DEAB-713A-888B854F86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9">
                <a:extLst>
                  <a:ext uri="{FF2B5EF4-FFF2-40B4-BE49-F238E27FC236}">
                    <a16:creationId xmlns:a16="http://schemas.microsoft.com/office/drawing/2014/main" id="{F7DCA389-7CA1-4B05-445B-C4C3754650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0">
                <a:extLst>
                  <a:ext uri="{FF2B5EF4-FFF2-40B4-BE49-F238E27FC236}">
                    <a16:creationId xmlns:a16="http://schemas.microsoft.com/office/drawing/2014/main" id="{0C182E83-D38D-CB10-A1C6-7B2F83FD791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1">
                <a:extLst>
                  <a:ext uri="{FF2B5EF4-FFF2-40B4-BE49-F238E27FC236}">
                    <a16:creationId xmlns:a16="http://schemas.microsoft.com/office/drawing/2014/main" id="{7FCE4242-796C-7656-8B80-B6F6C3A130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2">
                <a:extLst>
                  <a:ext uri="{FF2B5EF4-FFF2-40B4-BE49-F238E27FC236}">
                    <a16:creationId xmlns:a16="http://schemas.microsoft.com/office/drawing/2014/main" id="{7959D271-82D0-EB67-72F0-E8CA884E60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3">
                <a:extLst>
                  <a:ext uri="{FF2B5EF4-FFF2-40B4-BE49-F238E27FC236}">
                    <a16:creationId xmlns:a16="http://schemas.microsoft.com/office/drawing/2014/main" id="{C1367938-E6A3-6719-793B-1CE2E46525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4">
                <a:extLst>
                  <a:ext uri="{FF2B5EF4-FFF2-40B4-BE49-F238E27FC236}">
                    <a16:creationId xmlns:a16="http://schemas.microsoft.com/office/drawing/2014/main" id="{EB56B4C8-4838-B6EC-37F2-CA5202FA5F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5CF0A403-1373-52D0-2C8E-9922E6F1C994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2" name="Footnote measure">
              <a:extLst>
                <a:ext uri="{FF2B5EF4-FFF2-40B4-BE49-F238E27FC236}">
                  <a16:creationId xmlns:a16="http://schemas.microsoft.com/office/drawing/2014/main" id="{6EB63514-0239-30CD-8195-D1DD39CC7F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Whitespace measure">
              <a:extLst>
                <a:ext uri="{FF2B5EF4-FFF2-40B4-BE49-F238E27FC236}">
                  <a16:creationId xmlns:a16="http://schemas.microsoft.com/office/drawing/2014/main" id="{9F966C81-15D5-4892-CB92-4E8F02DFB8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4" name="Five column measure">
              <a:extLst>
                <a:ext uri="{FF2B5EF4-FFF2-40B4-BE49-F238E27FC236}">
                  <a16:creationId xmlns:a16="http://schemas.microsoft.com/office/drawing/2014/main" id="{831A5D0D-563C-1E01-FE00-07475BBE8848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7" name="Rectangle 5">
                <a:extLst>
                  <a:ext uri="{FF2B5EF4-FFF2-40B4-BE49-F238E27FC236}">
                    <a16:creationId xmlns:a16="http://schemas.microsoft.com/office/drawing/2014/main" id="{6A30DC78-AC25-02F1-CC19-C725F08E18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7">
                <a:extLst>
                  <a:ext uri="{FF2B5EF4-FFF2-40B4-BE49-F238E27FC236}">
                    <a16:creationId xmlns:a16="http://schemas.microsoft.com/office/drawing/2014/main" id="{47623F49-1300-A422-D40C-5BEB078142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9">
                <a:extLst>
                  <a:ext uri="{FF2B5EF4-FFF2-40B4-BE49-F238E27FC236}">
                    <a16:creationId xmlns:a16="http://schemas.microsoft.com/office/drawing/2014/main" id="{852D8E6A-DF6E-3534-24E8-27F31BD79A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1">
                <a:extLst>
                  <a:ext uri="{FF2B5EF4-FFF2-40B4-BE49-F238E27FC236}">
                    <a16:creationId xmlns:a16="http://schemas.microsoft.com/office/drawing/2014/main" id="{1EA65600-B1DC-F898-D436-A85454F57A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3">
                <a:extLst>
                  <a:ext uri="{FF2B5EF4-FFF2-40B4-BE49-F238E27FC236}">
                    <a16:creationId xmlns:a16="http://schemas.microsoft.com/office/drawing/2014/main" id="{173A6B68-90A3-45A3-405B-A2EADDAD6D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5" name="Live area">
              <a:extLst>
                <a:ext uri="{FF2B5EF4-FFF2-40B4-BE49-F238E27FC236}">
                  <a16:creationId xmlns:a16="http://schemas.microsoft.com/office/drawing/2014/main" id="{553A4D11-FEB5-6691-FC7E-84E42DCC6BAC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6" name="Footnote example">
              <a:extLst>
                <a:ext uri="{FF2B5EF4-FFF2-40B4-BE49-F238E27FC236}">
                  <a16:creationId xmlns:a16="http://schemas.microsoft.com/office/drawing/2014/main" id="{033FD02D-9F9C-292D-5D3C-609B72C47305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26578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8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2B6F47D-8127-50F8-12B1-A90F0E8138C0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16C98BFB-933F-75AB-F920-36E711FB5640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3B175742-6AC3-F271-8064-3D8B32197288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07B00690-1BBD-84A1-95FA-B785A1E08ABE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9167FFCE-5846-83B4-2F49-DE1E40EF9A46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F6DBAD13-DF27-62D4-0BCE-53029D029E06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DEC625EB-8747-B369-2C37-3E309A7174A5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B14EE902-6316-D063-8330-95C817301858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B64A5587-0F79-09BD-28A6-A1693144DC0D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1ED37599-DDC9-6FBD-6FBB-246A08ACEEB2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C762B529-155B-8566-2E34-420C1BA4273E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961E93EE-BC60-BB2B-835D-6A93CADDD3C9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2A54400D-7E54-32DA-94F1-11C104A55D2A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E7977D7B-DE7E-2EC5-716F-C96CE670A758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6479B669-D878-6E22-6FDC-519EB8136C0E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4EEEF646-0CA4-19D0-15B6-3CAB56F39C75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461B0AC3-C4BC-B3EB-C652-B739E1AEF248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696C9806-B4B3-6411-D005-CDCF7175B8B2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B62FB75F-05CF-1D33-E156-2B018FA955F3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C79B33B4-C0C8-1EFD-F60E-4518EDDDF699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1E036590-89DF-6B70-38B4-32EE8F0B36D1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5FB89A08-05EE-3D35-D1D2-962770E5287F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EE589BB3-58E4-940C-810E-8042266A7D37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991621B9-5CBC-71B5-27A7-6DF402286DC9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0" name="Rectangle 34">
                <a:extLst>
                  <a:ext uri="{FF2B5EF4-FFF2-40B4-BE49-F238E27FC236}">
                    <a16:creationId xmlns:a16="http://schemas.microsoft.com/office/drawing/2014/main" id="{EACECC7F-1C78-FB4E-80CD-1D3F4C2D5D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35">
                <a:extLst>
                  <a:ext uri="{FF2B5EF4-FFF2-40B4-BE49-F238E27FC236}">
                    <a16:creationId xmlns:a16="http://schemas.microsoft.com/office/drawing/2014/main" id="{42DAF98F-C458-DB45-ECF4-338278BC6F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6">
                <a:extLst>
                  <a:ext uri="{FF2B5EF4-FFF2-40B4-BE49-F238E27FC236}">
                    <a16:creationId xmlns:a16="http://schemas.microsoft.com/office/drawing/2014/main" id="{BEB58B8C-0137-085D-5D92-28A33511EB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7">
                <a:extLst>
                  <a:ext uri="{FF2B5EF4-FFF2-40B4-BE49-F238E27FC236}">
                    <a16:creationId xmlns:a16="http://schemas.microsoft.com/office/drawing/2014/main" id="{0E1E3D94-7648-1392-1B7F-B643454DB3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8">
                <a:extLst>
                  <a:ext uri="{FF2B5EF4-FFF2-40B4-BE49-F238E27FC236}">
                    <a16:creationId xmlns:a16="http://schemas.microsoft.com/office/drawing/2014/main" id="{D2F2DC0D-B1ED-6496-2B89-5BF2D47FE4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9">
                <a:extLst>
                  <a:ext uri="{FF2B5EF4-FFF2-40B4-BE49-F238E27FC236}">
                    <a16:creationId xmlns:a16="http://schemas.microsoft.com/office/drawing/2014/main" id="{568654DD-C326-65ED-C11E-46F20FA742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40">
                <a:extLst>
                  <a:ext uri="{FF2B5EF4-FFF2-40B4-BE49-F238E27FC236}">
                    <a16:creationId xmlns:a16="http://schemas.microsoft.com/office/drawing/2014/main" id="{96B13C4E-981E-040C-6AFF-1F525A0A59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1">
                <a:extLst>
                  <a:ext uri="{FF2B5EF4-FFF2-40B4-BE49-F238E27FC236}">
                    <a16:creationId xmlns:a16="http://schemas.microsoft.com/office/drawing/2014/main" id="{0A742C1C-DAD4-6337-663A-041DE32F53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2">
                <a:extLst>
                  <a:ext uri="{FF2B5EF4-FFF2-40B4-BE49-F238E27FC236}">
                    <a16:creationId xmlns:a16="http://schemas.microsoft.com/office/drawing/2014/main" id="{03AEA852-0DCE-D445-B021-3F970D6CAC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3">
                <a:extLst>
                  <a:ext uri="{FF2B5EF4-FFF2-40B4-BE49-F238E27FC236}">
                    <a16:creationId xmlns:a16="http://schemas.microsoft.com/office/drawing/2014/main" id="{58830E28-1801-1A97-A775-4F937B0BA3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4">
                <a:extLst>
                  <a:ext uri="{FF2B5EF4-FFF2-40B4-BE49-F238E27FC236}">
                    <a16:creationId xmlns:a16="http://schemas.microsoft.com/office/drawing/2014/main" id="{C949277A-160C-E8EE-7D30-8D7352A45B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29479FE9-746A-2152-E012-B6D526AD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:a16="http://schemas.microsoft.com/office/drawing/2014/main" id="{E70EE1B2-C7D5-91B3-B3E5-4E529A4E0B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742C8DF6-322A-EAF2-6B06-3240F7E531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8E66B350-446D-93AB-C703-F881EC0343FB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" name="Rectangle 5">
                <a:extLst>
                  <a:ext uri="{FF2B5EF4-FFF2-40B4-BE49-F238E27FC236}">
                    <a16:creationId xmlns:a16="http://schemas.microsoft.com/office/drawing/2014/main" id="{2E5B52CE-B1CF-9384-CC86-8E2EF445C3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7">
                <a:extLst>
                  <a:ext uri="{FF2B5EF4-FFF2-40B4-BE49-F238E27FC236}">
                    <a16:creationId xmlns:a16="http://schemas.microsoft.com/office/drawing/2014/main" id="{375C48DD-2A16-25C3-F1E2-6784F00A34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9">
                <a:extLst>
                  <a:ext uri="{FF2B5EF4-FFF2-40B4-BE49-F238E27FC236}">
                    <a16:creationId xmlns:a16="http://schemas.microsoft.com/office/drawing/2014/main" id="{7BB3D2DD-904B-0FB2-CE89-8AA58248F6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11">
                <a:extLst>
                  <a:ext uri="{FF2B5EF4-FFF2-40B4-BE49-F238E27FC236}">
                    <a16:creationId xmlns:a16="http://schemas.microsoft.com/office/drawing/2014/main" id="{B82422F3-6779-2DF9-1AB4-60E3D03ACA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3">
                <a:extLst>
                  <a:ext uri="{FF2B5EF4-FFF2-40B4-BE49-F238E27FC236}">
                    <a16:creationId xmlns:a16="http://schemas.microsoft.com/office/drawing/2014/main" id="{A5EC6BFD-AC54-C6EB-70BE-00FFA074CC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3" name="Live area">
              <a:extLst>
                <a:ext uri="{FF2B5EF4-FFF2-40B4-BE49-F238E27FC236}">
                  <a16:creationId xmlns:a16="http://schemas.microsoft.com/office/drawing/2014/main" id="{404E7EEF-9B48-55D2-89A5-790281C1A6B5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38FB89A5-D744-8046-881D-70F939D7E2D4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17999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0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91E2E6EC-1687-2310-77E6-F8788B083FB4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54D43E80-738D-3D3B-36ED-CBEB18EE22E5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B8687DFA-C695-EBC5-6C56-2FD0353F36FD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BF18BCEC-E3D8-2A06-C404-BA3949D0A377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EAE0320A-4608-1CE3-7F5E-4035E1048149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42AD7EA2-85BC-60DA-CB5B-A5F8F633E589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3C5DEBBA-BEDF-DE5A-B3F0-46658AD58310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1BCF2B41-B1DB-3B5D-6BE8-C092B32A3DE3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717CCDBC-BE9B-1605-B4C2-475E34EAA461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8A00A6EE-A527-220E-50D1-A39AB796303E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C98DF5C2-1D88-95C2-50AD-A639AE424D44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6E8BE2D9-9046-147B-8084-188AEABEFE3A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FAD976E0-FA89-CEF0-0042-726E7FEB38FD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DFD1DFB2-AA41-86D1-469C-3724FF6E21E3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ACB80428-39B6-D4B9-D931-3C8D586E37C8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CD8BB75A-BA64-9534-6F51-C6968754E2B8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DAC90EB9-9F17-2D77-D521-6C77A3352861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0266E7F0-0F58-307F-A585-016341F8D9FC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7137FFC7-7D6F-E26D-2325-1173570E414E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B25B72AD-9513-3BD3-2B25-63F8433F62C2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AB6BCB80-7737-F668-55BE-CA77F40358AE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F20279C9-D77C-AB8B-8266-1DBE2AFCC3FA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BF7626B9-A0DF-2094-AD80-9D34BDF20310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5762E58B-15DA-3076-3CCB-BD52CCE42437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0" name="Rectangle 34">
                <a:extLst>
                  <a:ext uri="{FF2B5EF4-FFF2-40B4-BE49-F238E27FC236}">
                    <a16:creationId xmlns:a16="http://schemas.microsoft.com/office/drawing/2014/main" id="{F1FAD475-DFB6-FE09-8E3D-987023258D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35">
                <a:extLst>
                  <a:ext uri="{FF2B5EF4-FFF2-40B4-BE49-F238E27FC236}">
                    <a16:creationId xmlns:a16="http://schemas.microsoft.com/office/drawing/2014/main" id="{F9FF56F7-DFC9-1F0E-5D48-5F006FA537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6">
                <a:extLst>
                  <a:ext uri="{FF2B5EF4-FFF2-40B4-BE49-F238E27FC236}">
                    <a16:creationId xmlns:a16="http://schemas.microsoft.com/office/drawing/2014/main" id="{050860E7-C406-B515-A08F-36382EA743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7">
                <a:extLst>
                  <a:ext uri="{FF2B5EF4-FFF2-40B4-BE49-F238E27FC236}">
                    <a16:creationId xmlns:a16="http://schemas.microsoft.com/office/drawing/2014/main" id="{625D2E25-F9A0-742C-A188-A493C7E887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8">
                <a:extLst>
                  <a:ext uri="{FF2B5EF4-FFF2-40B4-BE49-F238E27FC236}">
                    <a16:creationId xmlns:a16="http://schemas.microsoft.com/office/drawing/2014/main" id="{FC4542F9-8641-8577-1D8B-E064B320A2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9">
                <a:extLst>
                  <a:ext uri="{FF2B5EF4-FFF2-40B4-BE49-F238E27FC236}">
                    <a16:creationId xmlns:a16="http://schemas.microsoft.com/office/drawing/2014/main" id="{EDBC8C11-F4E6-6881-A911-4C430F0CFF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40">
                <a:extLst>
                  <a:ext uri="{FF2B5EF4-FFF2-40B4-BE49-F238E27FC236}">
                    <a16:creationId xmlns:a16="http://schemas.microsoft.com/office/drawing/2014/main" id="{B51C137A-9076-9BC0-214E-84B93A8404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1">
                <a:extLst>
                  <a:ext uri="{FF2B5EF4-FFF2-40B4-BE49-F238E27FC236}">
                    <a16:creationId xmlns:a16="http://schemas.microsoft.com/office/drawing/2014/main" id="{443AE86C-2759-3F7A-F52A-D893D44AD1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2">
                <a:extLst>
                  <a:ext uri="{FF2B5EF4-FFF2-40B4-BE49-F238E27FC236}">
                    <a16:creationId xmlns:a16="http://schemas.microsoft.com/office/drawing/2014/main" id="{0B82C187-3C72-29A6-E4DD-81E7C00CB0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3">
                <a:extLst>
                  <a:ext uri="{FF2B5EF4-FFF2-40B4-BE49-F238E27FC236}">
                    <a16:creationId xmlns:a16="http://schemas.microsoft.com/office/drawing/2014/main" id="{3407B949-0DA5-B705-73FF-CF2BE81AEB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4">
                <a:extLst>
                  <a:ext uri="{FF2B5EF4-FFF2-40B4-BE49-F238E27FC236}">
                    <a16:creationId xmlns:a16="http://schemas.microsoft.com/office/drawing/2014/main" id="{2CF5CE41-3904-E6EF-3EE9-63BFC4F755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8" name="Slide edges">
              <a:extLst>
                <a:ext uri="{FF2B5EF4-FFF2-40B4-BE49-F238E27FC236}">
                  <a16:creationId xmlns:a16="http://schemas.microsoft.com/office/drawing/2014/main" id="{86447DE7-68AC-11A1-8153-B26DAF98893A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0" name="Footnote measure">
              <a:extLst>
                <a:ext uri="{FF2B5EF4-FFF2-40B4-BE49-F238E27FC236}">
                  <a16:creationId xmlns:a16="http://schemas.microsoft.com/office/drawing/2014/main" id="{4816E345-1CBB-CF6B-CE1D-BC1FB4D303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8CA9B06E-59F9-BCE6-6E1C-0FAABD4470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D9485732-2F4D-8910-EE9C-3CFFE2247A39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" name="Rectangle 5">
                <a:extLst>
                  <a:ext uri="{FF2B5EF4-FFF2-40B4-BE49-F238E27FC236}">
                    <a16:creationId xmlns:a16="http://schemas.microsoft.com/office/drawing/2014/main" id="{C774C287-5F92-0D28-E206-32A2703076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7">
                <a:extLst>
                  <a:ext uri="{FF2B5EF4-FFF2-40B4-BE49-F238E27FC236}">
                    <a16:creationId xmlns:a16="http://schemas.microsoft.com/office/drawing/2014/main" id="{99136D16-2835-4637-1F38-FF8E34E78A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9">
                <a:extLst>
                  <a:ext uri="{FF2B5EF4-FFF2-40B4-BE49-F238E27FC236}">
                    <a16:creationId xmlns:a16="http://schemas.microsoft.com/office/drawing/2014/main" id="{00699A79-C768-345A-3946-584F733BC0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11">
                <a:extLst>
                  <a:ext uri="{FF2B5EF4-FFF2-40B4-BE49-F238E27FC236}">
                    <a16:creationId xmlns:a16="http://schemas.microsoft.com/office/drawing/2014/main" id="{66BE3BDA-D4ED-B472-3343-E8CEF05F19B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3">
                <a:extLst>
                  <a:ext uri="{FF2B5EF4-FFF2-40B4-BE49-F238E27FC236}">
                    <a16:creationId xmlns:a16="http://schemas.microsoft.com/office/drawing/2014/main" id="{A34C60F4-2A18-83ED-0981-3B623B3CFF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3" name="Live area">
              <a:extLst>
                <a:ext uri="{FF2B5EF4-FFF2-40B4-BE49-F238E27FC236}">
                  <a16:creationId xmlns:a16="http://schemas.microsoft.com/office/drawing/2014/main" id="{CA118CA1-A519-B341-A9BE-F51225D49EC5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CE4D87C4-B568-8CCE-BD9B-83101ECD2443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8346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2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5B1828A-A59E-40CD-699E-66D339FA03F7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99B47FE7-FF64-C1EA-7D45-C734D582FC5B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DBEEBC26-0184-FD2F-31F7-AA4D8F99819B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FD22AA0D-E1DD-91AD-18B0-A710AE44506C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8FCD81D0-902E-48A2-23DC-0AB15F5889FE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96E64603-08E2-7481-DB71-EED38BC3FFB1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E8B17E4E-679A-CF7C-18AD-05B4E0BAC92A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9742D6DB-EF14-8C41-1509-3F93522384CA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653E3CFB-2397-0703-917E-2EB27654D495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9A59F4AB-FD57-E1F3-2FB9-08D3AED6408F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FAD2264E-2F0B-3364-1A2C-0595C152538E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C98629E1-7226-4C9B-1059-DCE0C4A38B36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95E3F0DB-3726-C20B-8207-36963D31F529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C032FE2E-E825-96AB-6029-05DE41F963B1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189AA252-32B1-E063-FEB1-E5A2309F8FE1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D3C4FA80-3ED9-89EC-CF1B-2B1F1EEC85F6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CCC6B577-CD5A-BE76-1C30-08B978382F14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AF4D083F-3C60-B063-C9FE-FDF842851B4C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E05EA398-5FF1-DEF5-FD0A-230718EBC265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A4482FEA-CCD9-CD53-C3F0-779679FFC63D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021E5517-63D1-34C4-80F9-28DCBA6B7A71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A351F8F8-DA41-5F26-EC06-0C8106144133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4196B535-0337-0FF5-C5BA-897D9B934BE4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CA860650-85C2-8121-0225-7228AEA546AB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9" name="Rectangle 34">
                <a:extLst>
                  <a:ext uri="{FF2B5EF4-FFF2-40B4-BE49-F238E27FC236}">
                    <a16:creationId xmlns:a16="http://schemas.microsoft.com/office/drawing/2014/main" id="{E640F909-1917-BA61-1AB5-BB9D88E2A4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35">
                <a:extLst>
                  <a:ext uri="{FF2B5EF4-FFF2-40B4-BE49-F238E27FC236}">
                    <a16:creationId xmlns:a16="http://schemas.microsoft.com/office/drawing/2014/main" id="{96907A77-C931-B1EE-83CF-538F8863BD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36">
                <a:extLst>
                  <a:ext uri="{FF2B5EF4-FFF2-40B4-BE49-F238E27FC236}">
                    <a16:creationId xmlns:a16="http://schemas.microsoft.com/office/drawing/2014/main" id="{353E6642-3E84-A863-DFA3-5F4DF956ED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7">
                <a:extLst>
                  <a:ext uri="{FF2B5EF4-FFF2-40B4-BE49-F238E27FC236}">
                    <a16:creationId xmlns:a16="http://schemas.microsoft.com/office/drawing/2014/main" id="{C8B04C29-B87F-6005-D69B-9722CDB790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8">
                <a:extLst>
                  <a:ext uri="{FF2B5EF4-FFF2-40B4-BE49-F238E27FC236}">
                    <a16:creationId xmlns:a16="http://schemas.microsoft.com/office/drawing/2014/main" id="{4FF97E2E-B561-3D6C-F88F-86241A88B3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9">
                <a:extLst>
                  <a:ext uri="{FF2B5EF4-FFF2-40B4-BE49-F238E27FC236}">
                    <a16:creationId xmlns:a16="http://schemas.microsoft.com/office/drawing/2014/main" id="{3965A995-299E-79FB-EB57-7145E2A01C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0">
                <a:extLst>
                  <a:ext uri="{FF2B5EF4-FFF2-40B4-BE49-F238E27FC236}">
                    <a16:creationId xmlns:a16="http://schemas.microsoft.com/office/drawing/2014/main" id="{EC820FB2-255C-D433-8881-EFE4C1B925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1">
                <a:extLst>
                  <a:ext uri="{FF2B5EF4-FFF2-40B4-BE49-F238E27FC236}">
                    <a16:creationId xmlns:a16="http://schemas.microsoft.com/office/drawing/2014/main" id="{61D2545C-CE39-EAA9-62ED-4A795FFD60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2">
                <a:extLst>
                  <a:ext uri="{FF2B5EF4-FFF2-40B4-BE49-F238E27FC236}">
                    <a16:creationId xmlns:a16="http://schemas.microsoft.com/office/drawing/2014/main" id="{E0C56CF3-4C6F-67E3-3E53-B69EE42CB3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3">
                <a:extLst>
                  <a:ext uri="{FF2B5EF4-FFF2-40B4-BE49-F238E27FC236}">
                    <a16:creationId xmlns:a16="http://schemas.microsoft.com/office/drawing/2014/main" id="{A5BD3267-ABB3-B3D8-0729-DEAF145F07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4">
                <a:extLst>
                  <a:ext uri="{FF2B5EF4-FFF2-40B4-BE49-F238E27FC236}">
                    <a16:creationId xmlns:a16="http://schemas.microsoft.com/office/drawing/2014/main" id="{E3F49E74-2E53-AA5C-FAA3-296FA025FB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E4C26698-E75E-C168-2E7D-04653A18A4F9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" name="Footnote measure">
              <a:extLst>
                <a:ext uri="{FF2B5EF4-FFF2-40B4-BE49-F238E27FC236}">
                  <a16:creationId xmlns:a16="http://schemas.microsoft.com/office/drawing/2014/main" id="{7A5FA4EA-8760-2CB3-036E-88366C2E1A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Whitespace measure">
              <a:extLst>
                <a:ext uri="{FF2B5EF4-FFF2-40B4-BE49-F238E27FC236}">
                  <a16:creationId xmlns:a16="http://schemas.microsoft.com/office/drawing/2014/main" id="{7B7B708B-DA7D-E20F-B62F-7EDCA9A931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Five column measure">
              <a:extLst>
                <a:ext uri="{FF2B5EF4-FFF2-40B4-BE49-F238E27FC236}">
                  <a16:creationId xmlns:a16="http://schemas.microsoft.com/office/drawing/2014/main" id="{D757EE67-9639-1C23-F153-0B821C4D67C6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4" name="Rectangle 5">
                <a:extLst>
                  <a:ext uri="{FF2B5EF4-FFF2-40B4-BE49-F238E27FC236}">
                    <a16:creationId xmlns:a16="http://schemas.microsoft.com/office/drawing/2014/main" id="{137FCACF-4245-6796-E4F3-FDF6BE17E1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Rectangle 7">
                <a:extLst>
                  <a:ext uri="{FF2B5EF4-FFF2-40B4-BE49-F238E27FC236}">
                    <a16:creationId xmlns:a16="http://schemas.microsoft.com/office/drawing/2014/main" id="{E91ADB33-EA55-5C1D-321F-8C2C3DF3A2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9">
                <a:extLst>
                  <a:ext uri="{FF2B5EF4-FFF2-40B4-BE49-F238E27FC236}">
                    <a16:creationId xmlns:a16="http://schemas.microsoft.com/office/drawing/2014/main" id="{3377C076-7326-A985-5417-CB4771A9D0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11">
                <a:extLst>
                  <a:ext uri="{FF2B5EF4-FFF2-40B4-BE49-F238E27FC236}">
                    <a16:creationId xmlns:a16="http://schemas.microsoft.com/office/drawing/2014/main" id="{B15F480A-DE9B-AE35-49F7-F3243538ED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13">
                <a:extLst>
                  <a:ext uri="{FF2B5EF4-FFF2-40B4-BE49-F238E27FC236}">
                    <a16:creationId xmlns:a16="http://schemas.microsoft.com/office/drawing/2014/main" id="{6132E66D-A306-911F-D3AA-953F24AD12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" name="Live area">
              <a:extLst>
                <a:ext uri="{FF2B5EF4-FFF2-40B4-BE49-F238E27FC236}">
                  <a16:creationId xmlns:a16="http://schemas.microsoft.com/office/drawing/2014/main" id="{8D794724-3320-15B4-DD99-BB657105A16A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3" name="Footnote example">
              <a:extLst>
                <a:ext uri="{FF2B5EF4-FFF2-40B4-BE49-F238E27FC236}">
                  <a16:creationId xmlns:a16="http://schemas.microsoft.com/office/drawing/2014/main" id="{A02800AB-01F3-69EF-B604-4EC636AB2379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02310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467C178E-BD21-E31B-7F07-7F50CEBB04DC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DEC31955-31DF-6C37-F832-BE0F45B3E71F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E2E8615F-7376-D734-B993-95378E927C94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85C177E7-D17B-0CF1-E1D0-AC69F8474FBE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059655D1-D006-9DD4-F737-F2885D3D2DFE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3D3BD156-5DB9-06E2-EAEE-563F397B6371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B5C6DA80-2942-A5A4-C1A6-38DBC2D3FE2A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C5DEF609-642D-5004-4475-B2423606138F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B508350E-7DE3-E17D-C8DF-E5E96259466D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02E215F8-48BF-AC50-0A8E-BCD8990D5051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A03B243F-5DB6-90C2-551E-575F5188A2B6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6611C8E7-700C-4D88-F4FD-388072A914DC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8AB066E3-205D-371B-0A3D-8D03A82F8106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2630A28D-F9D1-0646-5341-0E2677943435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78A435CC-DAE7-8F5B-4F94-E1F88D26B485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674BEE80-7295-5D08-28A9-ABE467E6F1C1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436116E2-3925-F1F0-0364-E20C350641E8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D1C0F61C-B495-2F76-B33E-4F25F480179B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758FEAB6-0224-6B32-8B11-DC808DFA2863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6509182C-EF63-2B3E-06BB-E440FA6C7319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FB3EF21C-51A9-4210-EEC2-478C639DF9DC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030C3B9E-3118-42D7-B6ED-4D3E4AE8ECD7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CBEBBE8C-2EDA-79D6-6694-3681A14CDA07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630C4A62-B86F-F6DA-8A24-9CD88C012E97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3" name="Rectangle 34">
                <a:extLst>
                  <a:ext uri="{FF2B5EF4-FFF2-40B4-BE49-F238E27FC236}">
                    <a16:creationId xmlns:a16="http://schemas.microsoft.com/office/drawing/2014/main" id="{C77D1AE4-68B4-935E-345F-E0392E0632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5">
                <a:extLst>
                  <a:ext uri="{FF2B5EF4-FFF2-40B4-BE49-F238E27FC236}">
                    <a16:creationId xmlns:a16="http://schemas.microsoft.com/office/drawing/2014/main" id="{801911B6-3852-D591-7F7C-B68F975A52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6">
                <a:extLst>
                  <a:ext uri="{FF2B5EF4-FFF2-40B4-BE49-F238E27FC236}">
                    <a16:creationId xmlns:a16="http://schemas.microsoft.com/office/drawing/2014/main" id="{B6B14D0F-626C-170D-D80F-4E55EBEB78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7">
                <a:extLst>
                  <a:ext uri="{FF2B5EF4-FFF2-40B4-BE49-F238E27FC236}">
                    <a16:creationId xmlns:a16="http://schemas.microsoft.com/office/drawing/2014/main" id="{705A119F-0187-714D-8F28-A5DDA48528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8">
                <a:extLst>
                  <a:ext uri="{FF2B5EF4-FFF2-40B4-BE49-F238E27FC236}">
                    <a16:creationId xmlns:a16="http://schemas.microsoft.com/office/drawing/2014/main" id="{C4A5159C-1F34-5CB2-6A5B-5B76AAAA92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39">
                <a:extLst>
                  <a:ext uri="{FF2B5EF4-FFF2-40B4-BE49-F238E27FC236}">
                    <a16:creationId xmlns:a16="http://schemas.microsoft.com/office/drawing/2014/main" id="{A50B4863-4488-C02C-BAC5-2521BF6998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0">
                <a:extLst>
                  <a:ext uri="{FF2B5EF4-FFF2-40B4-BE49-F238E27FC236}">
                    <a16:creationId xmlns:a16="http://schemas.microsoft.com/office/drawing/2014/main" id="{B6DA4EDE-B4A0-94F6-1375-4915562C18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1">
                <a:extLst>
                  <a:ext uri="{FF2B5EF4-FFF2-40B4-BE49-F238E27FC236}">
                    <a16:creationId xmlns:a16="http://schemas.microsoft.com/office/drawing/2014/main" id="{E178A407-8222-6843-DFE4-56F6A74FCB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2">
                <a:extLst>
                  <a:ext uri="{FF2B5EF4-FFF2-40B4-BE49-F238E27FC236}">
                    <a16:creationId xmlns:a16="http://schemas.microsoft.com/office/drawing/2014/main" id="{1407CDDC-59F7-D792-57DD-E9EA9E4D4A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3">
                <a:extLst>
                  <a:ext uri="{FF2B5EF4-FFF2-40B4-BE49-F238E27FC236}">
                    <a16:creationId xmlns:a16="http://schemas.microsoft.com/office/drawing/2014/main" id="{46466C8F-697B-920E-365C-BCCD94A1AA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44">
                <a:extLst>
                  <a:ext uri="{FF2B5EF4-FFF2-40B4-BE49-F238E27FC236}">
                    <a16:creationId xmlns:a16="http://schemas.microsoft.com/office/drawing/2014/main" id="{2978EDB6-9EB5-21BA-D57E-DCDE9355D6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B443A2B3-3408-7A27-811D-AC7B00C96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" name="Footnote measure">
              <a:extLst>
                <a:ext uri="{FF2B5EF4-FFF2-40B4-BE49-F238E27FC236}">
                  <a16:creationId xmlns:a16="http://schemas.microsoft.com/office/drawing/2014/main" id="{DC2C4386-1272-69CD-8A96-297ED78887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Whitespace measure">
              <a:extLst>
                <a:ext uri="{FF2B5EF4-FFF2-40B4-BE49-F238E27FC236}">
                  <a16:creationId xmlns:a16="http://schemas.microsoft.com/office/drawing/2014/main" id="{3DD15BA5-9657-ABB3-8ADE-82C00CA00D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Five column measure">
              <a:extLst>
                <a:ext uri="{FF2B5EF4-FFF2-40B4-BE49-F238E27FC236}">
                  <a16:creationId xmlns:a16="http://schemas.microsoft.com/office/drawing/2014/main" id="{9127EA8D-2941-4C05-5277-2BC549737DE3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" name="Rectangle 5">
                <a:extLst>
                  <a:ext uri="{FF2B5EF4-FFF2-40B4-BE49-F238E27FC236}">
                    <a16:creationId xmlns:a16="http://schemas.microsoft.com/office/drawing/2014/main" id="{0266A4A8-BC96-89A0-440C-219C940944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7">
                <a:extLst>
                  <a:ext uri="{FF2B5EF4-FFF2-40B4-BE49-F238E27FC236}">
                    <a16:creationId xmlns:a16="http://schemas.microsoft.com/office/drawing/2014/main" id="{565E4EB2-4E39-22AD-AF90-438E2245F8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9">
                <a:extLst>
                  <a:ext uri="{FF2B5EF4-FFF2-40B4-BE49-F238E27FC236}">
                    <a16:creationId xmlns:a16="http://schemas.microsoft.com/office/drawing/2014/main" id="{CFAFB6CA-2A12-8045-1C09-2DAF0B2AE3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1">
                <a:extLst>
                  <a:ext uri="{FF2B5EF4-FFF2-40B4-BE49-F238E27FC236}">
                    <a16:creationId xmlns:a16="http://schemas.microsoft.com/office/drawing/2014/main" id="{96C9CB9C-DE36-74EF-6B76-0F4A816D0E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13">
                <a:extLst>
                  <a:ext uri="{FF2B5EF4-FFF2-40B4-BE49-F238E27FC236}">
                    <a16:creationId xmlns:a16="http://schemas.microsoft.com/office/drawing/2014/main" id="{232BA35F-1441-FEDD-5BFD-E9EE441B7F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" name="Live area">
              <a:extLst>
                <a:ext uri="{FF2B5EF4-FFF2-40B4-BE49-F238E27FC236}">
                  <a16:creationId xmlns:a16="http://schemas.microsoft.com/office/drawing/2014/main" id="{86173CD9-EFD7-DC4A-DFDA-293573F998AF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7DC5F2E3-F54D-2BA6-256D-7EC71A1EAE27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76040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7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E09DDF5-7BEE-FB7E-1D16-8517B4B8244F}"/>
              </a:ext>
            </a:extLst>
          </p:cNvPr>
          <p:cNvGrpSpPr/>
          <p:nvPr userDrawn="1">
            <p:custDataLst>
              <p:tags r:id="rId4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" name="No fly zone">
              <a:extLst>
                <a:ext uri="{FF2B5EF4-FFF2-40B4-BE49-F238E27FC236}">
                  <a16:creationId xmlns:a16="http://schemas.microsoft.com/office/drawing/2014/main" id="{2C3A21F0-68E3-8148-1276-1EF57A12F52F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6" name="Baselines / anchors">
              <a:extLst>
                <a:ext uri="{FF2B5EF4-FFF2-40B4-BE49-F238E27FC236}">
                  <a16:creationId xmlns:a16="http://schemas.microsoft.com/office/drawing/2014/main" id="{42D0B4E3-810D-B73A-2B67-68F613C13A1A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6CD96001-9DA7-7CED-7B3D-3E5189B81622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D2D98F42-C862-3D39-9444-EB74CAD4ED7E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39B610C8-0657-6E48-3B1F-11E95D22B866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5174364D-46C2-DC3E-CF95-A8FF4D5F3770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CD5F7131-4C06-7CDC-792D-A4A90C115759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43ADA474-FA69-BDFC-2513-E98773E2B52D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25A3B666-BEDC-0033-1E37-D180F52538DA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AE6FAB29-B77F-25AB-89C8-74033FDBC635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3CC94C0A-5E0F-7AD6-C5E4-834073972AB5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021AC8C3-3FD3-44B4-C1BC-49601C135465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A583AD30-E218-C03A-556D-81BC0FD52ECA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E023BB95-7699-42FE-128A-404242310086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2FC9AC61-00DF-E249-3B4F-EC8F5D239404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DBAC5349-B435-893B-8DA3-95AAA0198333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DC7CE99E-8481-58CD-81F1-A42CAC4F0E39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90366BF8-23EA-2E00-7C3A-BE1EA0E3D1A7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16649B0B-3AD9-0AAE-B9AB-9F8AEE7501A6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BD227E0C-ECA0-2F40-1C21-AB58228C87AF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3555CC39-FB88-5D11-613A-4B6FDC8F253E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59563AC1-622D-81D7-6432-03BB0B87D834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utter space">
              <a:extLst>
                <a:ext uri="{FF2B5EF4-FFF2-40B4-BE49-F238E27FC236}">
                  <a16:creationId xmlns:a16="http://schemas.microsoft.com/office/drawing/2014/main" id="{07FD7839-9DD5-17B5-CCF9-E9F2053BDE66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3" name="Rectangle 34">
                <a:extLst>
                  <a:ext uri="{FF2B5EF4-FFF2-40B4-BE49-F238E27FC236}">
                    <a16:creationId xmlns:a16="http://schemas.microsoft.com/office/drawing/2014/main" id="{4C44F8D9-2BBA-5992-70D7-0AF08F745A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5">
                <a:extLst>
                  <a:ext uri="{FF2B5EF4-FFF2-40B4-BE49-F238E27FC236}">
                    <a16:creationId xmlns:a16="http://schemas.microsoft.com/office/drawing/2014/main" id="{B26E7CBB-BD1B-2591-1B38-46565AB4AE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6">
                <a:extLst>
                  <a:ext uri="{FF2B5EF4-FFF2-40B4-BE49-F238E27FC236}">
                    <a16:creationId xmlns:a16="http://schemas.microsoft.com/office/drawing/2014/main" id="{5C79C650-3FBB-D788-0440-7BBAD099D5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7">
                <a:extLst>
                  <a:ext uri="{FF2B5EF4-FFF2-40B4-BE49-F238E27FC236}">
                    <a16:creationId xmlns:a16="http://schemas.microsoft.com/office/drawing/2014/main" id="{1890EE11-2A9A-064B-324A-6524FCCDE1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8">
                <a:extLst>
                  <a:ext uri="{FF2B5EF4-FFF2-40B4-BE49-F238E27FC236}">
                    <a16:creationId xmlns:a16="http://schemas.microsoft.com/office/drawing/2014/main" id="{2FAB96C0-6DC8-9277-9AF0-5BDADCDD71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39">
                <a:extLst>
                  <a:ext uri="{FF2B5EF4-FFF2-40B4-BE49-F238E27FC236}">
                    <a16:creationId xmlns:a16="http://schemas.microsoft.com/office/drawing/2014/main" id="{F7C5EE06-224C-737D-D14C-B991FBCFFC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0">
                <a:extLst>
                  <a:ext uri="{FF2B5EF4-FFF2-40B4-BE49-F238E27FC236}">
                    <a16:creationId xmlns:a16="http://schemas.microsoft.com/office/drawing/2014/main" id="{5F6346EE-A5EF-0FA8-B13E-648AF574B0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1">
                <a:extLst>
                  <a:ext uri="{FF2B5EF4-FFF2-40B4-BE49-F238E27FC236}">
                    <a16:creationId xmlns:a16="http://schemas.microsoft.com/office/drawing/2014/main" id="{D40E655F-8839-440A-3F9F-D6DAD3E9F4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2">
                <a:extLst>
                  <a:ext uri="{FF2B5EF4-FFF2-40B4-BE49-F238E27FC236}">
                    <a16:creationId xmlns:a16="http://schemas.microsoft.com/office/drawing/2014/main" id="{260FBBD6-664A-C079-C87D-A85052E6D9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3">
                <a:extLst>
                  <a:ext uri="{FF2B5EF4-FFF2-40B4-BE49-F238E27FC236}">
                    <a16:creationId xmlns:a16="http://schemas.microsoft.com/office/drawing/2014/main" id="{43D21E28-192A-EDDE-C3C8-66FFCE03C4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44">
                <a:extLst>
                  <a:ext uri="{FF2B5EF4-FFF2-40B4-BE49-F238E27FC236}">
                    <a16:creationId xmlns:a16="http://schemas.microsoft.com/office/drawing/2014/main" id="{914CDB03-3353-E170-FCDA-38C0399B8E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9" name="Slide edges">
              <a:extLst>
                <a:ext uri="{FF2B5EF4-FFF2-40B4-BE49-F238E27FC236}">
                  <a16:creationId xmlns:a16="http://schemas.microsoft.com/office/drawing/2014/main" id="{C4868C00-5B5F-AB3B-1480-443715237D64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3" name="Footnote measure">
              <a:extLst>
                <a:ext uri="{FF2B5EF4-FFF2-40B4-BE49-F238E27FC236}">
                  <a16:creationId xmlns:a16="http://schemas.microsoft.com/office/drawing/2014/main" id="{513B5880-4B61-F7E2-5ADB-9A825C5908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Whitespace measure">
              <a:extLst>
                <a:ext uri="{FF2B5EF4-FFF2-40B4-BE49-F238E27FC236}">
                  <a16:creationId xmlns:a16="http://schemas.microsoft.com/office/drawing/2014/main" id="{710867EA-347F-99AA-A7D1-F4C5DB16A4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5" name="Five column measure">
              <a:extLst>
                <a:ext uri="{FF2B5EF4-FFF2-40B4-BE49-F238E27FC236}">
                  <a16:creationId xmlns:a16="http://schemas.microsoft.com/office/drawing/2014/main" id="{765391C0-4E4E-27B3-5BAB-5C695E291B71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8" name="Rectangle 5">
                <a:extLst>
                  <a:ext uri="{FF2B5EF4-FFF2-40B4-BE49-F238E27FC236}">
                    <a16:creationId xmlns:a16="http://schemas.microsoft.com/office/drawing/2014/main" id="{A8E74B6B-11B2-F9DE-4D13-E0900D21E8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7">
                <a:extLst>
                  <a:ext uri="{FF2B5EF4-FFF2-40B4-BE49-F238E27FC236}">
                    <a16:creationId xmlns:a16="http://schemas.microsoft.com/office/drawing/2014/main" id="{BD9B0AC5-8A01-9D5F-D9CD-F102050F32B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9">
                <a:extLst>
                  <a:ext uri="{FF2B5EF4-FFF2-40B4-BE49-F238E27FC236}">
                    <a16:creationId xmlns:a16="http://schemas.microsoft.com/office/drawing/2014/main" id="{2A43F3B2-DEE9-1CE7-1FC2-FD2EA22D31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1">
                <a:extLst>
                  <a:ext uri="{FF2B5EF4-FFF2-40B4-BE49-F238E27FC236}">
                    <a16:creationId xmlns:a16="http://schemas.microsoft.com/office/drawing/2014/main" id="{FB066991-483A-B30A-C339-6DA5546091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13">
                <a:extLst>
                  <a:ext uri="{FF2B5EF4-FFF2-40B4-BE49-F238E27FC236}">
                    <a16:creationId xmlns:a16="http://schemas.microsoft.com/office/drawing/2014/main" id="{ACA0975A-B622-ED70-6CAA-E35C4C0D41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6" name="Live area">
              <a:extLst>
                <a:ext uri="{FF2B5EF4-FFF2-40B4-BE49-F238E27FC236}">
                  <a16:creationId xmlns:a16="http://schemas.microsoft.com/office/drawing/2014/main" id="{41E4808F-B1F1-A011-00A1-1E85D02E6AAF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7" name="Footnote example">
              <a:extLst>
                <a:ext uri="{FF2B5EF4-FFF2-40B4-BE49-F238E27FC236}">
                  <a16:creationId xmlns:a16="http://schemas.microsoft.com/office/drawing/2014/main" id="{FEACC7DF-922F-32D8-5222-3618589D3F27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72822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0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45F94EF-0588-C0D5-A93C-A0642A1DD1C5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07421FEB-0FA9-B95B-BAC6-6AC06B536EDA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DCD75139-7CA4-C9B1-D35F-FA009F66942B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58DED5DA-1C36-BC11-FFB7-EB59007C0CDC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BDB7AD15-E84F-D9CD-83EE-E420590D68A2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859FEE5A-23B6-C5CD-7270-1EC30BC50E09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124BBDC0-B248-7BE7-7033-1C4AAC63A44F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FF48BE53-44F0-D443-EDBE-35C0E72FF16F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712C2D54-42A8-3100-EC84-F8FC69189D96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37844D04-19E9-5D89-122A-14F43A445E86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5EB3B2EE-B085-F95C-8933-5DFC7A7EBE23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5046DF8F-47FC-757E-591D-7E746F800D1C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6AA98595-79FF-5F83-0716-D2B646C371D6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E46D8E64-8786-6054-78E8-96ED078268F7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B61F9A8C-317A-7D74-3A90-C57D5FED0235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EABF75F4-CFAE-A4DC-8AB6-5195E028B30F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2FDD0C1C-EA6C-56FB-C594-8E2860F3ACB0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5189EA26-BE77-3C3F-855E-BF00FEF4A88A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3B7AEC07-F104-CB64-9EB2-82C3EC95536E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9961777B-0411-1987-06A3-A1E3D5B09D00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45D47434-BAD7-EB6C-A55C-701AAC3784D1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18B2BDD4-C088-F4AE-BAE7-E9DC467B3F76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6D66E9AE-0DA8-E29D-5042-850DF4AE129C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9213FE30-5E20-26E5-D9D7-B01F2AF4A649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1" name="Rectangle 34">
                <a:extLst>
                  <a:ext uri="{FF2B5EF4-FFF2-40B4-BE49-F238E27FC236}">
                    <a16:creationId xmlns:a16="http://schemas.microsoft.com/office/drawing/2014/main" id="{C9254A54-8B79-9D57-20E7-FDB44CBF5C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5">
                <a:extLst>
                  <a:ext uri="{FF2B5EF4-FFF2-40B4-BE49-F238E27FC236}">
                    <a16:creationId xmlns:a16="http://schemas.microsoft.com/office/drawing/2014/main" id="{0C68CA10-37FC-9B63-A886-1CB309F69A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6">
                <a:extLst>
                  <a:ext uri="{FF2B5EF4-FFF2-40B4-BE49-F238E27FC236}">
                    <a16:creationId xmlns:a16="http://schemas.microsoft.com/office/drawing/2014/main" id="{B6F60B7F-3E49-CB80-E548-E719253A4A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7">
                <a:extLst>
                  <a:ext uri="{FF2B5EF4-FFF2-40B4-BE49-F238E27FC236}">
                    <a16:creationId xmlns:a16="http://schemas.microsoft.com/office/drawing/2014/main" id="{B534002A-C1B1-6E4D-505F-007BC4E267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8">
                <a:extLst>
                  <a:ext uri="{FF2B5EF4-FFF2-40B4-BE49-F238E27FC236}">
                    <a16:creationId xmlns:a16="http://schemas.microsoft.com/office/drawing/2014/main" id="{7D0A32BB-A673-8716-F60A-602E298953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9">
                <a:extLst>
                  <a:ext uri="{FF2B5EF4-FFF2-40B4-BE49-F238E27FC236}">
                    <a16:creationId xmlns:a16="http://schemas.microsoft.com/office/drawing/2014/main" id="{A0A33FC2-8859-B7AA-4B29-72681890AE8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0">
                <a:extLst>
                  <a:ext uri="{FF2B5EF4-FFF2-40B4-BE49-F238E27FC236}">
                    <a16:creationId xmlns:a16="http://schemas.microsoft.com/office/drawing/2014/main" id="{2C189E3B-3A29-BC9D-27A8-6AE7FB998F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1">
                <a:extLst>
                  <a:ext uri="{FF2B5EF4-FFF2-40B4-BE49-F238E27FC236}">
                    <a16:creationId xmlns:a16="http://schemas.microsoft.com/office/drawing/2014/main" id="{C4A5A442-8975-BB7E-37AC-5386C568AC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2">
                <a:extLst>
                  <a:ext uri="{FF2B5EF4-FFF2-40B4-BE49-F238E27FC236}">
                    <a16:creationId xmlns:a16="http://schemas.microsoft.com/office/drawing/2014/main" id="{33185DFA-571A-306B-726E-6B5257D92C8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3">
                <a:extLst>
                  <a:ext uri="{FF2B5EF4-FFF2-40B4-BE49-F238E27FC236}">
                    <a16:creationId xmlns:a16="http://schemas.microsoft.com/office/drawing/2014/main" id="{27B9B8D2-1FAD-01F3-5E35-C21C9A7235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4">
                <a:extLst>
                  <a:ext uri="{FF2B5EF4-FFF2-40B4-BE49-F238E27FC236}">
                    <a16:creationId xmlns:a16="http://schemas.microsoft.com/office/drawing/2014/main" id="{DD4BD285-65FC-D23C-7578-A24AF3C4A3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8" name="Slide edges">
              <a:extLst>
                <a:ext uri="{FF2B5EF4-FFF2-40B4-BE49-F238E27FC236}">
                  <a16:creationId xmlns:a16="http://schemas.microsoft.com/office/drawing/2014/main" id="{7A21B11D-6D60-FBE4-D852-BDA079B91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:a16="http://schemas.microsoft.com/office/drawing/2014/main" id="{F88ED3CA-545B-FEAA-8B32-FBB96433FB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567D6F40-E8AB-CECC-548F-7506BD3166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B57FF4E7-8902-6B4A-1FB0-672431B1E236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6" name="Rectangle 5">
                <a:extLst>
                  <a:ext uri="{FF2B5EF4-FFF2-40B4-BE49-F238E27FC236}">
                    <a16:creationId xmlns:a16="http://schemas.microsoft.com/office/drawing/2014/main" id="{84DA64E9-FE5E-BD73-AC33-3383F9EB1E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7">
                <a:extLst>
                  <a:ext uri="{FF2B5EF4-FFF2-40B4-BE49-F238E27FC236}">
                    <a16:creationId xmlns:a16="http://schemas.microsoft.com/office/drawing/2014/main" id="{C132C1B7-342C-FAA6-1C97-CB2D581646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9">
                <a:extLst>
                  <a:ext uri="{FF2B5EF4-FFF2-40B4-BE49-F238E27FC236}">
                    <a16:creationId xmlns:a16="http://schemas.microsoft.com/office/drawing/2014/main" id="{9894540D-6887-AC2A-8AA7-75A1EB9593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1">
                <a:extLst>
                  <a:ext uri="{FF2B5EF4-FFF2-40B4-BE49-F238E27FC236}">
                    <a16:creationId xmlns:a16="http://schemas.microsoft.com/office/drawing/2014/main" id="{D5BD4D21-4097-9C3B-A4B9-4735E1E01A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3">
                <a:extLst>
                  <a:ext uri="{FF2B5EF4-FFF2-40B4-BE49-F238E27FC236}">
                    <a16:creationId xmlns:a16="http://schemas.microsoft.com/office/drawing/2014/main" id="{513BC58A-C179-C97F-5715-877DFF01C9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4" name="Live area">
              <a:extLst>
                <a:ext uri="{FF2B5EF4-FFF2-40B4-BE49-F238E27FC236}">
                  <a16:creationId xmlns:a16="http://schemas.microsoft.com/office/drawing/2014/main" id="{6BDD3344-88AD-406C-C28C-65D123FA5387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5" name="Footnote example">
              <a:extLst>
                <a:ext uri="{FF2B5EF4-FFF2-40B4-BE49-F238E27FC236}">
                  <a16:creationId xmlns:a16="http://schemas.microsoft.com/office/drawing/2014/main" id="{9AD1E8EE-449C-CAB4-BE9F-872A22B4FF8D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35229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F3CF4DB7-900C-67C3-E6A5-00288864B991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0BBCACAA-614E-79F1-0C78-B105472FC1A2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ADD43290-0EBA-7073-2451-340D9549B050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A53C6C20-5F59-B768-A278-B0CE4D667866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E29F3981-7C69-8D48-852C-81FC95EEDC34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F3669F1C-7BA1-7113-4095-DADF9E7E479A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01FF6FAF-FD0B-FAA2-2DCE-53C27A94B827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2836FBFD-A383-CB5A-A5AA-03C3509C31EE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D98033C0-1707-57EC-620D-53E90A5C9777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E116E1BB-45D1-DF19-2E49-2AEF82966E1B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6C2CD1B4-9AF1-B9EB-D7AD-1FB9A9EF8F50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370990AB-55F7-8689-AC12-C68F7FB5C2C8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7D97149B-DC57-FA66-32DC-72CFD13ADFC2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C4258D42-30AC-C426-4E51-BF49FC459D7E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F67D0418-8B85-024A-FD45-7BBA337E32AB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6E699182-FE1B-8E05-6015-98F0EAAAB5DC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2B6D978C-2A26-ABB0-206C-28772C9A46FC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0FEA6708-6248-69EF-DD41-6EED9A6E7BAD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7BCE93FD-E56D-C97B-BE37-9BF5A2362DFD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8E014428-549A-0FCE-C27F-0335497094E3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01B48CB9-4FA8-F083-56B8-F7214C686C24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9E8B9CA4-EBD7-F195-3B3E-7CD809C8C338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3DF53009-4AD8-65AC-5352-8EDEA7E0D072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AC01F86D-CE26-7E58-8519-C7DF689412CC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1" name="Rectangle 34">
                <a:extLst>
                  <a:ext uri="{FF2B5EF4-FFF2-40B4-BE49-F238E27FC236}">
                    <a16:creationId xmlns:a16="http://schemas.microsoft.com/office/drawing/2014/main" id="{536EDB08-5627-0FC2-6770-527939B4E4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5">
                <a:extLst>
                  <a:ext uri="{FF2B5EF4-FFF2-40B4-BE49-F238E27FC236}">
                    <a16:creationId xmlns:a16="http://schemas.microsoft.com/office/drawing/2014/main" id="{4B717948-127E-675A-08B3-F5722E225C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6">
                <a:extLst>
                  <a:ext uri="{FF2B5EF4-FFF2-40B4-BE49-F238E27FC236}">
                    <a16:creationId xmlns:a16="http://schemas.microsoft.com/office/drawing/2014/main" id="{AC3BC91A-1E96-D50B-08F9-6EB6A578FC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7">
                <a:extLst>
                  <a:ext uri="{FF2B5EF4-FFF2-40B4-BE49-F238E27FC236}">
                    <a16:creationId xmlns:a16="http://schemas.microsoft.com/office/drawing/2014/main" id="{CB011B3C-2E05-D565-6136-B617FE3894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8">
                <a:extLst>
                  <a:ext uri="{FF2B5EF4-FFF2-40B4-BE49-F238E27FC236}">
                    <a16:creationId xmlns:a16="http://schemas.microsoft.com/office/drawing/2014/main" id="{FFA78B39-850B-AAE7-B576-72EA29DB52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9">
                <a:extLst>
                  <a:ext uri="{FF2B5EF4-FFF2-40B4-BE49-F238E27FC236}">
                    <a16:creationId xmlns:a16="http://schemas.microsoft.com/office/drawing/2014/main" id="{371DE576-3F04-347C-ECC3-F95B121D5F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0">
                <a:extLst>
                  <a:ext uri="{FF2B5EF4-FFF2-40B4-BE49-F238E27FC236}">
                    <a16:creationId xmlns:a16="http://schemas.microsoft.com/office/drawing/2014/main" id="{49CFD4E8-E505-E552-668E-5AE20E1A54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1">
                <a:extLst>
                  <a:ext uri="{FF2B5EF4-FFF2-40B4-BE49-F238E27FC236}">
                    <a16:creationId xmlns:a16="http://schemas.microsoft.com/office/drawing/2014/main" id="{C27F9B99-5C8B-B6ED-2AD0-5B017085EC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2">
                <a:extLst>
                  <a:ext uri="{FF2B5EF4-FFF2-40B4-BE49-F238E27FC236}">
                    <a16:creationId xmlns:a16="http://schemas.microsoft.com/office/drawing/2014/main" id="{E6DE9E54-ABF2-75D4-58C4-407A0DA6F5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3">
                <a:extLst>
                  <a:ext uri="{FF2B5EF4-FFF2-40B4-BE49-F238E27FC236}">
                    <a16:creationId xmlns:a16="http://schemas.microsoft.com/office/drawing/2014/main" id="{1A9FFE4B-CF8F-DE7B-AC1C-DDD2870903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4">
                <a:extLst>
                  <a:ext uri="{FF2B5EF4-FFF2-40B4-BE49-F238E27FC236}">
                    <a16:creationId xmlns:a16="http://schemas.microsoft.com/office/drawing/2014/main" id="{8369A417-5497-93EE-0F6C-8BC2BAD19E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8" name="Slide edges">
              <a:extLst>
                <a:ext uri="{FF2B5EF4-FFF2-40B4-BE49-F238E27FC236}">
                  <a16:creationId xmlns:a16="http://schemas.microsoft.com/office/drawing/2014/main" id="{129CD5F4-D2E4-B1CA-C07C-7C7E0FEE0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:a16="http://schemas.microsoft.com/office/drawing/2014/main" id="{2A8791C8-B5BB-8C8C-0F46-19783FFFC9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5F24FF71-2124-D6F4-F7D8-89B3204BE3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B4B9845E-0600-B932-89D0-8FB5623D8A9F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6" name="Rectangle 5">
                <a:extLst>
                  <a:ext uri="{FF2B5EF4-FFF2-40B4-BE49-F238E27FC236}">
                    <a16:creationId xmlns:a16="http://schemas.microsoft.com/office/drawing/2014/main" id="{270ACF73-7F25-F288-3C04-4424AAEAAA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7">
                <a:extLst>
                  <a:ext uri="{FF2B5EF4-FFF2-40B4-BE49-F238E27FC236}">
                    <a16:creationId xmlns:a16="http://schemas.microsoft.com/office/drawing/2014/main" id="{BCFE32AA-0171-A14F-0222-757C301D43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9">
                <a:extLst>
                  <a:ext uri="{FF2B5EF4-FFF2-40B4-BE49-F238E27FC236}">
                    <a16:creationId xmlns:a16="http://schemas.microsoft.com/office/drawing/2014/main" id="{14BCD392-9AC2-6739-22A9-6112FEF6F1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1">
                <a:extLst>
                  <a:ext uri="{FF2B5EF4-FFF2-40B4-BE49-F238E27FC236}">
                    <a16:creationId xmlns:a16="http://schemas.microsoft.com/office/drawing/2014/main" id="{A7CA1E84-4B1D-0DAA-E281-6350FFABE1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3">
                <a:extLst>
                  <a:ext uri="{FF2B5EF4-FFF2-40B4-BE49-F238E27FC236}">
                    <a16:creationId xmlns:a16="http://schemas.microsoft.com/office/drawing/2014/main" id="{D55F609B-3276-5213-7BB0-0B52FFA19D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4" name="Live area">
              <a:extLst>
                <a:ext uri="{FF2B5EF4-FFF2-40B4-BE49-F238E27FC236}">
                  <a16:creationId xmlns:a16="http://schemas.microsoft.com/office/drawing/2014/main" id="{C2198F39-151E-8097-5B32-690C38831A62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5" name="Footnote example">
              <a:extLst>
                <a:ext uri="{FF2B5EF4-FFF2-40B4-BE49-F238E27FC236}">
                  <a16:creationId xmlns:a16="http://schemas.microsoft.com/office/drawing/2014/main" id="{57B29B6D-E8C3-1838-5C50-584DE99BAF6F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76264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61EA6B5-6AA4-B156-2CDB-6D9C0D598F80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6D803527-7BFD-E749-5961-4078D2EF653D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70507C50-649E-2806-1E54-7FDF559B3D55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B436A559-F409-8F5C-FB2A-51574787489B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1B8A863D-F02F-C142-37D1-112EEF17F9DC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787460D4-F623-97BA-B8B8-76882A9E9BEB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6D02915E-225E-73E2-672E-054D13E31825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8FD849DB-EA52-7CD3-041F-80546A373EC4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3FA1AD52-DD84-E354-B420-525025AD0780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A6AF007C-AD7C-6C9F-CF49-FECE0B51773E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CA096B33-C1D9-2E6C-11C2-177673C15E0F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E0E81DC1-4A8B-51D3-2AA8-CED268631F2E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772477A1-D0DC-5FCA-B12A-0FFDABD6BC12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914710CA-96A1-827E-DCE2-45B9E63BB7FB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B5A239E7-ECA3-D9BE-14F9-66A3A6AA1C6D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ED6A8EA2-C307-32CE-105A-2D76880593CD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17F84D88-C810-2E6C-B6B6-53FFAA44523B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FDBA7092-EDA5-4ABD-A1D0-7D0EE8731841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D6D6D5A1-8354-F18F-BB69-0885015576F2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1FBB3BAF-E60C-1EE7-7653-7F0E691D41A6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3A0277DF-A1B9-0F1B-6ABE-A99C20E5A4C8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A7ECD1A5-8AE3-8342-8EE2-E8B7F1867243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96A3FBD5-1D7A-91D9-20BA-9A2C6992D923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F46D674E-6DA9-194B-2E59-30A2EC54ED05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2" name="Rectangle 34">
                <a:extLst>
                  <a:ext uri="{FF2B5EF4-FFF2-40B4-BE49-F238E27FC236}">
                    <a16:creationId xmlns:a16="http://schemas.microsoft.com/office/drawing/2014/main" id="{F311491D-6CFF-E950-E794-D12655EE4A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5">
                <a:extLst>
                  <a:ext uri="{FF2B5EF4-FFF2-40B4-BE49-F238E27FC236}">
                    <a16:creationId xmlns:a16="http://schemas.microsoft.com/office/drawing/2014/main" id="{2684744F-A934-3421-1F48-0EE397C9A6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6">
                <a:extLst>
                  <a:ext uri="{FF2B5EF4-FFF2-40B4-BE49-F238E27FC236}">
                    <a16:creationId xmlns:a16="http://schemas.microsoft.com/office/drawing/2014/main" id="{594E36C0-5021-F56A-DDC4-D02FA14A3B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7">
                <a:extLst>
                  <a:ext uri="{FF2B5EF4-FFF2-40B4-BE49-F238E27FC236}">
                    <a16:creationId xmlns:a16="http://schemas.microsoft.com/office/drawing/2014/main" id="{3538D9C6-9E24-B5C6-DE7E-35325F625F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8">
                <a:extLst>
                  <a:ext uri="{FF2B5EF4-FFF2-40B4-BE49-F238E27FC236}">
                    <a16:creationId xmlns:a16="http://schemas.microsoft.com/office/drawing/2014/main" id="{3BBFF261-956D-4DF7-06CE-A5BF2B6C6B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9">
                <a:extLst>
                  <a:ext uri="{FF2B5EF4-FFF2-40B4-BE49-F238E27FC236}">
                    <a16:creationId xmlns:a16="http://schemas.microsoft.com/office/drawing/2014/main" id="{70C3D369-A0F9-D535-1217-3698554F59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0">
                <a:extLst>
                  <a:ext uri="{FF2B5EF4-FFF2-40B4-BE49-F238E27FC236}">
                    <a16:creationId xmlns:a16="http://schemas.microsoft.com/office/drawing/2014/main" id="{C804370A-1D55-7401-FA6B-E926CFA321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1">
                <a:extLst>
                  <a:ext uri="{FF2B5EF4-FFF2-40B4-BE49-F238E27FC236}">
                    <a16:creationId xmlns:a16="http://schemas.microsoft.com/office/drawing/2014/main" id="{4C5A1EEC-FDAF-D758-228C-3705D21D00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2">
                <a:extLst>
                  <a:ext uri="{FF2B5EF4-FFF2-40B4-BE49-F238E27FC236}">
                    <a16:creationId xmlns:a16="http://schemas.microsoft.com/office/drawing/2014/main" id="{540E15B7-2217-3765-66D5-00095E726F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3">
                <a:extLst>
                  <a:ext uri="{FF2B5EF4-FFF2-40B4-BE49-F238E27FC236}">
                    <a16:creationId xmlns:a16="http://schemas.microsoft.com/office/drawing/2014/main" id="{F0904698-3C4D-2C94-7D51-AD024076D5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4">
                <a:extLst>
                  <a:ext uri="{FF2B5EF4-FFF2-40B4-BE49-F238E27FC236}">
                    <a16:creationId xmlns:a16="http://schemas.microsoft.com/office/drawing/2014/main" id="{CE0E4472-4F13-DD26-17F9-0F067E18DA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E9ED92AD-8718-3161-7444-56237FF22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" name="Footnote measure">
              <a:extLst>
                <a:ext uri="{FF2B5EF4-FFF2-40B4-BE49-F238E27FC236}">
                  <a16:creationId xmlns:a16="http://schemas.microsoft.com/office/drawing/2014/main" id="{09F34688-B5B6-2736-4596-B28AE619A7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Whitespace measure">
              <a:extLst>
                <a:ext uri="{FF2B5EF4-FFF2-40B4-BE49-F238E27FC236}">
                  <a16:creationId xmlns:a16="http://schemas.microsoft.com/office/drawing/2014/main" id="{73A1A4F2-DBF2-2904-1A46-F9A6F3869C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Five column measure">
              <a:extLst>
                <a:ext uri="{FF2B5EF4-FFF2-40B4-BE49-F238E27FC236}">
                  <a16:creationId xmlns:a16="http://schemas.microsoft.com/office/drawing/2014/main" id="{96A696AC-B64B-2A0D-091C-72A9401D8193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6" name="Rectangle 5">
                <a:extLst>
                  <a:ext uri="{FF2B5EF4-FFF2-40B4-BE49-F238E27FC236}">
                    <a16:creationId xmlns:a16="http://schemas.microsoft.com/office/drawing/2014/main" id="{F3FF0F49-41F9-B12B-7DE7-24E4B7D86A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7">
                <a:extLst>
                  <a:ext uri="{FF2B5EF4-FFF2-40B4-BE49-F238E27FC236}">
                    <a16:creationId xmlns:a16="http://schemas.microsoft.com/office/drawing/2014/main" id="{B28EDC46-A587-DA89-4912-28FBEA0433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9">
                <a:extLst>
                  <a:ext uri="{FF2B5EF4-FFF2-40B4-BE49-F238E27FC236}">
                    <a16:creationId xmlns:a16="http://schemas.microsoft.com/office/drawing/2014/main" id="{56042E6A-F5C1-7C09-6402-203CDC7139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1">
                <a:extLst>
                  <a:ext uri="{FF2B5EF4-FFF2-40B4-BE49-F238E27FC236}">
                    <a16:creationId xmlns:a16="http://schemas.microsoft.com/office/drawing/2014/main" id="{EE101D55-0BD7-F62B-F863-B2759E2D11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3">
                <a:extLst>
                  <a:ext uri="{FF2B5EF4-FFF2-40B4-BE49-F238E27FC236}">
                    <a16:creationId xmlns:a16="http://schemas.microsoft.com/office/drawing/2014/main" id="{1A565383-BAA8-21DE-5C72-01B257AB5F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" name="Live area">
              <a:extLst>
                <a:ext uri="{FF2B5EF4-FFF2-40B4-BE49-F238E27FC236}">
                  <a16:creationId xmlns:a16="http://schemas.microsoft.com/office/drawing/2014/main" id="{FCE5D75F-5971-ED2B-4E3C-0C7D981DEE3B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50CDBBD7-88C8-AD88-0BA7-446C87C760B5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55081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/>
              <a:t>Agenda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F647B2F-72C6-A082-46F4-CDD2209C5777}"/>
              </a:ext>
            </a:extLst>
          </p:cNvPr>
          <p:cNvGrpSpPr/>
          <p:nvPr userDrawn="1">
            <p:custDataLst>
              <p:tags r:id="rId4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2C380EE4-8FC0-4A0A-EE79-74F0187EBBFD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BFC7DA74-1EC0-A73C-D8AE-BF5D7DDFD9DB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DB0C20FB-B685-FBA0-F635-52F3CDD6374C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A14C4096-6343-3B87-72FE-BF143BEDA4FF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0892A65C-ABA5-6322-DCF3-7FA6BD7EB163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52836291-D8EA-6D8C-26AB-796C8F187DA6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4B1D0648-7B2E-65B5-F374-87FA32B8CE2F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42057AEE-AF13-EBC2-7F8C-9E95D85F7402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6BD23EE5-4F1C-6229-75DF-50A0DD527A26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C241C186-15D3-240F-7859-6747C073DBF1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FFC8CA29-2EF1-CFBD-4803-F451CC30C260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8BB72E6D-31E0-1F65-DD5F-BA2713A7A35F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821DDDBD-6FFD-8A3C-F084-553452F63AA3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3A20E259-DEA5-56C3-89A2-6979CD10812F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69F4D47A-B585-A258-7F91-0AA2108109B5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7C81F3BF-8684-3DD7-C7FE-0147BE0D0F02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4F8330C1-F048-E046-FFA0-417768384421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E4EC7DF3-F482-FA9D-EB1C-078D72C194CC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BA2AAA06-876B-D7AD-1AA1-6441BF4CB290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EE8B02A4-5A07-C9E2-30B8-FBA93CC395E9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AD3E42F2-CC70-9B3D-7B72-D830032CC256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3312A2DE-A7B9-BE30-5FDE-87A1B1BB5569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936023E4-E32D-B0ED-FAE8-D28FDC9AC487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2" name="Rectangle 34">
                <a:extLst>
                  <a:ext uri="{FF2B5EF4-FFF2-40B4-BE49-F238E27FC236}">
                    <a16:creationId xmlns:a16="http://schemas.microsoft.com/office/drawing/2014/main" id="{3FAA5312-85BD-7ADD-0B1B-4BA822D9DB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5">
                <a:extLst>
                  <a:ext uri="{FF2B5EF4-FFF2-40B4-BE49-F238E27FC236}">
                    <a16:creationId xmlns:a16="http://schemas.microsoft.com/office/drawing/2014/main" id="{C906C5EE-9935-8BA0-365E-B27091681E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6">
                <a:extLst>
                  <a:ext uri="{FF2B5EF4-FFF2-40B4-BE49-F238E27FC236}">
                    <a16:creationId xmlns:a16="http://schemas.microsoft.com/office/drawing/2014/main" id="{8D09817E-70B6-953E-573E-C62B407BC9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7">
                <a:extLst>
                  <a:ext uri="{FF2B5EF4-FFF2-40B4-BE49-F238E27FC236}">
                    <a16:creationId xmlns:a16="http://schemas.microsoft.com/office/drawing/2014/main" id="{1D5E8C13-187D-04BA-56CC-EE6E174643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8">
                <a:extLst>
                  <a:ext uri="{FF2B5EF4-FFF2-40B4-BE49-F238E27FC236}">
                    <a16:creationId xmlns:a16="http://schemas.microsoft.com/office/drawing/2014/main" id="{81160C5B-2DFA-20D6-A6DF-83A53A195B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9">
                <a:extLst>
                  <a:ext uri="{FF2B5EF4-FFF2-40B4-BE49-F238E27FC236}">
                    <a16:creationId xmlns:a16="http://schemas.microsoft.com/office/drawing/2014/main" id="{3FA7EA74-F970-D7F1-E089-068926A264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0">
                <a:extLst>
                  <a:ext uri="{FF2B5EF4-FFF2-40B4-BE49-F238E27FC236}">
                    <a16:creationId xmlns:a16="http://schemas.microsoft.com/office/drawing/2014/main" id="{03D84C6A-C864-2769-312D-B640491309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1">
                <a:extLst>
                  <a:ext uri="{FF2B5EF4-FFF2-40B4-BE49-F238E27FC236}">
                    <a16:creationId xmlns:a16="http://schemas.microsoft.com/office/drawing/2014/main" id="{0AE653E9-0E2B-CE08-F17A-E6B665D52D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2">
                <a:extLst>
                  <a:ext uri="{FF2B5EF4-FFF2-40B4-BE49-F238E27FC236}">
                    <a16:creationId xmlns:a16="http://schemas.microsoft.com/office/drawing/2014/main" id="{2010A432-F3EB-3E1F-5A02-D6A29B25F5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3">
                <a:extLst>
                  <a:ext uri="{FF2B5EF4-FFF2-40B4-BE49-F238E27FC236}">
                    <a16:creationId xmlns:a16="http://schemas.microsoft.com/office/drawing/2014/main" id="{4ABFB400-AB05-C6A0-714E-A43197D2B7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4">
                <a:extLst>
                  <a:ext uri="{FF2B5EF4-FFF2-40B4-BE49-F238E27FC236}">
                    <a16:creationId xmlns:a16="http://schemas.microsoft.com/office/drawing/2014/main" id="{B151B07F-7591-E05E-668E-BFF265D688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15073404-E7E7-AB26-196B-9A33AEA9C766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2" name="Footnote measure">
              <a:extLst>
                <a:ext uri="{FF2B5EF4-FFF2-40B4-BE49-F238E27FC236}">
                  <a16:creationId xmlns:a16="http://schemas.microsoft.com/office/drawing/2014/main" id="{9D8F691B-96E4-CD0F-581F-6901E868FA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Whitespace measure">
              <a:extLst>
                <a:ext uri="{FF2B5EF4-FFF2-40B4-BE49-F238E27FC236}">
                  <a16:creationId xmlns:a16="http://schemas.microsoft.com/office/drawing/2014/main" id="{C976EABC-4574-1381-FE78-955F0926E0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4" name="Five column measure">
              <a:extLst>
                <a:ext uri="{FF2B5EF4-FFF2-40B4-BE49-F238E27FC236}">
                  <a16:creationId xmlns:a16="http://schemas.microsoft.com/office/drawing/2014/main" id="{2ADD5DA5-75CB-56CA-CF13-4B95DB88424A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7" name="Rectangle 5">
                <a:extLst>
                  <a:ext uri="{FF2B5EF4-FFF2-40B4-BE49-F238E27FC236}">
                    <a16:creationId xmlns:a16="http://schemas.microsoft.com/office/drawing/2014/main" id="{F3C652F7-892E-B25E-0E49-FD68280C4C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7">
                <a:extLst>
                  <a:ext uri="{FF2B5EF4-FFF2-40B4-BE49-F238E27FC236}">
                    <a16:creationId xmlns:a16="http://schemas.microsoft.com/office/drawing/2014/main" id="{4641F3DF-501B-3AB3-6B29-7E7D9324A6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9">
                <a:extLst>
                  <a:ext uri="{FF2B5EF4-FFF2-40B4-BE49-F238E27FC236}">
                    <a16:creationId xmlns:a16="http://schemas.microsoft.com/office/drawing/2014/main" id="{ADFE813E-6108-66BD-9FE4-1EE354D279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1">
                <a:extLst>
                  <a:ext uri="{FF2B5EF4-FFF2-40B4-BE49-F238E27FC236}">
                    <a16:creationId xmlns:a16="http://schemas.microsoft.com/office/drawing/2014/main" id="{BEA9F695-E6A8-A620-D4B9-196F1967B3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3">
                <a:extLst>
                  <a:ext uri="{FF2B5EF4-FFF2-40B4-BE49-F238E27FC236}">
                    <a16:creationId xmlns:a16="http://schemas.microsoft.com/office/drawing/2014/main" id="{B965C835-9E8F-2B3E-D802-BD5569FE57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5" name="Live area">
              <a:extLst>
                <a:ext uri="{FF2B5EF4-FFF2-40B4-BE49-F238E27FC236}">
                  <a16:creationId xmlns:a16="http://schemas.microsoft.com/office/drawing/2014/main" id="{F11B052F-F2B6-DCEF-C31A-E694B3C9E26A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6" name="Footnote example">
              <a:extLst>
                <a:ext uri="{FF2B5EF4-FFF2-40B4-BE49-F238E27FC236}">
                  <a16:creationId xmlns:a16="http://schemas.microsoft.com/office/drawing/2014/main" id="{6BECCFD5-1642-8606-78ED-BFD39B180B95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4775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2895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9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7E06C2A-856B-336E-797A-43DA3E424FE6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3100824E-8B1A-14CC-C985-87E6F603E563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02137667-F375-6F28-324B-A4020223AF3B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DD629D08-EAC1-EC2B-CE24-B9DA82E9F6F3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5A2F0E80-AE40-CFDE-BD76-D000A3577092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831BDDEC-B8E3-EE6D-564F-07743FA48682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26655E26-2715-DC26-6896-6BDB9BDA2D33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F0AF797E-B494-6757-B69F-3A4086615B1C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1C460E07-8F29-B0CC-1143-4B28109BBEF0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84CDD7F8-0ECB-EF1F-C256-9E6DE5CE7EB6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39523DE0-8416-2B69-E1B6-CD5F22300900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D49AC809-8045-B6CE-BCFE-07373D3CAC55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F39C6F16-39B8-D9BF-1D88-C7C31067B53A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B44FFEE9-B8FF-6DDE-A97E-668A2413AB98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6DCB6202-7A4F-2C60-394F-AD5F9A01D5F0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9C89CDCB-6610-FE7D-2000-B96A3768121C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E7A2E6FC-B06F-C691-FF0A-2449A9CDB315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AEBD8480-86C1-15B8-0094-FF531D95791A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26A93119-A0FD-7386-AA59-760DDA4CA0A6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11670E8A-57D7-7E21-317E-0D2B601A92A9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5D32F682-C68F-0D65-4E67-65D21A9BA4F9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CB7F8BD7-B9BB-0065-9F85-DD6037ECB455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F88E0584-EAEC-7C1C-F301-363E0B678D55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A644E7F2-5546-E256-B36E-86B25CDEC7AD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0" name="Rectangle 34">
                <a:extLst>
                  <a:ext uri="{FF2B5EF4-FFF2-40B4-BE49-F238E27FC236}">
                    <a16:creationId xmlns:a16="http://schemas.microsoft.com/office/drawing/2014/main" id="{7200E0A9-A94F-C2E1-E11E-2ABC9E63C8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35">
                <a:extLst>
                  <a:ext uri="{FF2B5EF4-FFF2-40B4-BE49-F238E27FC236}">
                    <a16:creationId xmlns:a16="http://schemas.microsoft.com/office/drawing/2014/main" id="{F8AEAB21-677E-301D-843B-8D060AD23F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6">
                <a:extLst>
                  <a:ext uri="{FF2B5EF4-FFF2-40B4-BE49-F238E27FC236}">
                    <a16:creationId xmlns:a16="http://schemas.microsoft.com/office/drawing/2014/main" id="{D9493E60-3010-FA44-2DDF-60A54C401A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7">
                <a:extLst>
                  <a:ext uri="{FF2B5EF4-FFF2-40B4-BE49-F238E27FC236}">
                    <a16:creationId xmlns:a16="http://schemas.microsoft.com/office/drawing/2014/main" id="{5B471F40-A81C-F00A-5153-2C6A53BC09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8">
                <a:extLst>
                  <a:ext uri="{FF2B5EF4-FFF2-40B4-BE49-F238E27FC236}">
                    <a16:creationId xmlns:a16="http://schemas.microsoft.com/office/drawing/2014/main" id="{25F4B759-64AF-A650-A6A8-DE704101DC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9">
                <a:extLst>
                  <a:ext uri="{FF2B5EF4-FFF2-40B4-BE49-F238E27FC236}">
                    <a16:creationId xmlns:a16="http://schemas.microsoft.com/office/drawing/2014/main" id="{76E1C792-5673-1E61-D33A-97746B5D54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40">
                <a:extLst>
                  <a:ext uri="{FF2B5EF4-FFF2-40B4-BE49-F238E27FC236}">
                    <a16:creationId xmlns:a16="http://schemas.microsoft.com/office/drawing/2014/main" id="{2E767842-34AD-2318-957F-B91DDCEFFA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1">
                <a:extLst>
                  <a:ext uri="{FF2B5EF4-FFF2-40B4-BE49-F238E27FC236}">
                    <a16:creationId xmlns:a16="http://schemas.microsoft.com/office/drawing/2014/main" id="{E520A1C8-3723-138F-1B5A-760C2BF84E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2">
                <a:extLst>
                  <a:ext uri="{FF2B5EF4-FFF2-40B4-BE49-F238E27FC236}">
                    <a16:creationId xmlns:a16="http://schemas.microsoft.com/office/drawing/2014/main" id="{3809DA9B-6275-A827-27BA-5AA73AF2DF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3">
                <a:extLst>
                  <a:ext uri="{FF2B5EF4-FFF2-40B4-BE49-F238E27FC236}">
                    <a16:creationId xmlns:a16="http://schemas.microsoft.com/office/drawing/2014/main" id="{93993644-2ED2-E1F7-1BC5-047425BF40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4">
                <a:extLst>
                  <a:ext uri="{FF2B5EF4-FFF2-40B4-BE49-F238E27FC236}">
                    <a16:creationId xmlns:a16="http://schemas.microsoft.com/office/drawing/2014/main" id="{FE72ED8E-34BA-3382-B26E-4B43913685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3B54C3D0-178C-3FED-F88A-277F2CA08D43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:a16="http://schemas.microsoft.com/office/drawing/2014/main" id="{E83001EB-0E37-6FEF-B931-B423C2793E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16F705E9-3383-6478-D888-38E901C878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EA070581-8651-B203-5670-7DEC8C4B0BF1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" name="Rectangle 5">
                <a:extLst>
                  <a:ext uri="{FF2B5EF4-FFF2-40B4-BE49-F238E27FC236}">
                    <a16:creationId xmlns:a16="http://schemas.microsoft.com/office/drawing/2014/main" id="{469EEFA4-EFF0-9CD2-D66F-B7B163A8E1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7">
                <a:extLst>
                  <a:ext uri="{FF2B5EF4-FFF2-40B4-BE49-F238E27FC236}">
                    <a16:creationId xmlns:a16="http://schemas.microsoft.com/office/drawing/2014/main" id="{FA34B722-C343-3F83-951F-3114374C47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9">
                <a:extLst>
                  <a:ext uri="{FF2B5EF4-FFF2-40B4-BE49-F238E27FC236}">
                    <a16:creationId xmlns:a16="http://schemas.microsoft.com/office/drawing/2014/main" id="{98660BE0-4B60-BDF6-3C4A-249C00DF8F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11">
                <a:extLst>
                  <a:ext uri="{FF2B5EF4-FFF2-40B4-BE49-F238E27FC236}">
                    <a16:creationId xmlns:a16="http://schemas.microsoft.com/office/drawing/2014/main" id="{B9FC9E5A-3362-F200-8683-735F780F57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3">
                <a:extLst>
                  <a:ext uri="{FF2B5EF4-FFF2-40B4-BE49-F238E27FC236}">
                    <a16:creationId xmlns:a16="http://schemas.microsoft.com/office/drawing/2014/main" id="{6F03DAE9-C901-37D8-11B1-B0E0B154BB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3" name="Live area">
              <a:extLst>
                <a:ext uri="{FF2B5EF4-FFF2-40B4-BE49-F238E27FC236}">
                  <a16:creationId xmlns:a16="http://schemas.microsoft.com/office/drawing/2014/main" id="{50163F13-D50D-94DA-9EF6-951188203009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E70521EC-AA82-3A9D-C6B8-BCA00B936990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50880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2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09D71592-484B-740E-72A4-DB31F9E18FD7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BEE23510-6B1A-C0A0-53A6-DD64F343BAC0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A8108A98-8612-A3FC-2471-EC0653C6C2D7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4F90A68F-B2B0-0FA8-2D63-A36BB22EDB63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B19544B4-0E8F-EEEE-CE45-E5A000064A0B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CA33217D-44A2-3297-5DFD-6CE88A14B0B6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9F59DCEC-18FC-394B-1571-77EC77443F98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CE4D4854-8254-39AD-E76D-59FD08EACE78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B5E54B4C-E775-8E9B-FCA6-BC287246C22F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7883C015-BB87-4E73-1140-0A5DF3385625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45E7F715-6988-66F1-1EA1-70BC72090D1C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68D9F13A-81D2-3090-4BD7-1291EDEA4270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C3849D24-EC2A-88AB-259A-C460BBD50ABC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B2DE5CDB-63EB-D66D-BB5E-772D58B7B43D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8E927918-B24A-253E-AC63-F17241B52C68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83DFAD26-18F5-1330-BBE8-3E6CFF5B73EB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C6E30B92-424A-E731-5198-C29B2AB1DBA7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7F4887C3-AA39-3DFB-4696-5E85826D9F48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B11CD2F4-E4E1-3CF9-ECD9-4907BF809D0A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9A5D0CCF-D1A9-93F4-C1FC-11F810ADBB9C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F59B8EE5-5FDF-811A-D620-CC0294123366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A3D754CB-9EB5-7817-365F-EEA98480CBCE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360AFBA2-CD08-CD51-281C-295382B56197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DC558937-EF06-4E49-9602-E0F89005D84A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0" name="Rectangle 34">
                <a:extLst>
                  <a:ext uri="{FF2B5EF4-FFF2-40B4-BE49-F238E27FC236}">
                    <a16:creationId xmlns:a16="http://schemas.microsoft.com/office/drawing/2014/main" id="{9CB27C19-2345-76F4-B789-B19FDB62E4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35">
                <a:extLst>
                  <a:ext uri="{FF2B5EF4-FFF2-40B4-BE49-F238E27FC236}">
                    <a16:creationId xmlns:a16="http://schemas.microsoft.com/office/drawing/2014/main" id="{23207B4C-AE9A-1532-52A1-F9A6699A62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6">
                <a:extLst>
                  <a:ext uri="{FF2B5EF4-FFF2-40B4-BE49-F238E27FC236}">
                    <a16:creationId xmlns:a16="http://schemas.microsoft.com/office/drawing/2014/main" id="{6E746612-075A-2ADF-E399-3EFAC05E91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7">
                <a:extLst>
                  <a:ext uri="{FF2B5EF4-FFF2-40B4-BE49-F238E27FC236}">
                    <a16:creationId xmlns:a16="http://schemas.microsoft.com/office/drawing/2014/main" id="{4A6AACBB-E0F7-1262-DD86-C1FB4EEA37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8">
                <a:extLst>
                  <a:ext uri="{FF2B5EF4-FFF2-40B4-BE49-F238E27FC236}">
                    <a16:creationId xmlns:a16="http://schemas.microsoft.com/office/drawing/2014/main" id="{63B5FA3C-3285-4D66-7005-A6D622328F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9">
                <a:extLst>
                  <a:ext uri="{FF2B5EF4-FFF2-40B4-BE49-F238E27FC236}">
                    <a16:creationId xmlns:a16="http://schemas.microsoft.com/office/drawing/2014/main" id="{B5F78801-D959-E910-A2DE-FE071F9699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40">
                <a:extLst>
                  <a:ext uri="{FF2B5EF4-FFF2-40B4-BE49-F238E27FC236}">
                    <a16:creationId xmlns:a16="http://schemas.microsoft.com/office/drawing/2014/main" id="{0A3D7D75-D9A3-409A-158E-0468E4441A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1">
                <a:extLst>
                  <a:ext uri="{FF2B5EF4-FFF2-40B4-BE49-F238E27FC236}">
                    <a16:creationId xmlns:a16="http://schemas.microsoft.com/office/drawing/2014/main" id="{83B80F4E-3314-6C49-D6CD-4247FEB098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2">
                <a:extLst>
                  <a:ext uri="{FF2B5EF4-FFF2-40B4-BE49-F238E27FC236}">
                    <a16:creationId xmlns:a16="http://schemas.microsoft.com/office/drawing/2014/main" id="{12355EE8-9B6A-DDD6-F271-B079DBD322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3">
                <a:extLst>
                  <a:ext uri="{FF2B5EF4-FFF2-40B4-BE49-F238E27FC236}">
                    <a16:creationId xmlns:a16="http://schemas.microsoft.com/office/drawing/2014/main" id="{3DA76236-4C85-3402-3C34-EB8C441876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4">
                <a:extLst>
                  <a:ext uri="{FF2B5EF4-FFF2-40B4-BE49-F238E27FC236}">
                    <a16:creationId xmlns:a16="http://schemas.microsoft.com/office/drawing/2014/main" id="{B1253380-BBA6-8FDD-F90E-DAD0B074BB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8" name="Slide edges">
              <a:extLst>
                <a:ext uri="{FF2B5EF4-FFF2-40B4-BE49-F238E27FC236}">
                  <a16:creationId xmlns:a16="http://schemas.microsoft.com/office/drawing/2014/main" id="{82485B8D-D65A-6241-B94D-30CB4DED4B85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0" name="Footnote measure">
              <a:extLst>
                <a:ext uri="{FF2B5EF4-FFF2-40B4-BE49-F238E27FC236}">
                  <a16:creationId xmlns:a16="http://schemas.microsoft.com/office/drawing/2014/main" id="{7FC7591D-97B9-C3E8-D55E-3299273ECF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1AEA079A-59E6-2BDA-1F52-C73AA48CB4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D9E24101-412C-2824-90BC-B1C53B304082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" name="Rectangle 5">
                <a:extLst>
                  <a:ext uri="{FF2B5EF4-FFF2-40B4-BE49-F238E27FC236}">
                    <a16:creationId xmlns:a16="http://schemas.microsoft.com/office/drawing/2014/main" id="{2D8F8B98-3918-6643-8345-2AC3D3865D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7">
                <a:extLst>
                  <a:ext uri="{FF2B5EF4-FFF2-40B4-BE49-F238E27FC236}">
                    <a16:creationId xmlns:a16="http://schemas.microsoft.com/office/drawing/2014/main" id="{3101DD12-3B92-AFDA-3BA0-1E87721112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9">
                <a:extLst>
                  <a:ext uri="{FF2B5EF4-FFF2-40B4-BE49-F238E27FC236}">
                    <a16:creationId xmlns:a16="http://schemas.microsoft.com/office/drawing/2014/main" id="{C6136625-7D19-8478-0227-1AFBBB87DD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11">
                <a:extLst>
                  <a:ext uri="{FF2B5EF4-FFF2-40B4-BE49-F238E27FC236}">
                    <a16:creationId xmlns:a16="http://schemas.microsoft.com/office/drawing/2014/main" id="{2F4F3E40-F4FC-676C-2511-334871A852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3">
                <a:extLst>
                  <a:ext uri="{FF2B5EF4-FFF2-40B4-BE49-F238E27FC236}">
                    <a16:creationId xmlns:a16="http://schemas.microsoft.com/office/drawing/2014/main" id="{2A52D3AD-D0C0-C4D0-17ED-5995917922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3" name="Live area">
              <a:extLst>
                <a:ext uri="{FF2B5EF4-FFF2-40B4-BE49-F238E27FC236}">
                  <a16:creationId xmlns:a16="http://schemas.microsoft.com/office/drawing/2014/main" id="{273BED47-D149-9975-1CA9-E2FCC81B2E11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2149A756-CFBF-5F3B-474C-63D44BFC8C15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0752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D5FED79-9FC0-7817-EE6A-8EDD2ACD0E63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3C116F5A-8FAA-EC7D-0A8B-551AE504A409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183DF07A-7C45-ED25-7233-2D5567D8AEBD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E60A1D4A-B0B8-C35C-77E3-C8E5D19088A7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FBB068DB-5BC7-CE87-3ACA-01E0FAC98957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A215FCED-25A8-59EA-8896-7DA33294D15C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7AA0682B-4139-C592-5DAA-019C08578601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62D7AB21-1B1F-4D90-1828-F5CA671C6112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38F3AE55-AFD8-6415-C7DF-C00910FEF420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DC310867-DD74-B736-7419-C648D13A6CEB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F5948B02-AC47-4433-5407-C1BD5638DD31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02A62EAD-DC9E-ECB0-1895-04EA66B48D09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9703793B-EE75-2549-C38D-9972BCA07204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80B88375-7C75-451E-EDC1-12E9DAE2A42A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C4C7CBF3-DD53-D97F-8393-8F4DB83C35D6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D864A3E8-E112-6B83-46B3-F61B3A47E6EB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F14E9A16-C948-54E8-DAF6-5A636DD26404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A26795A1-71E5-59EB-A356-2476A1223BE9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69BEB092-1546-B958-C0AF-4112686A798F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7F345C33-8DD7-D9A5-39C3-9FCBF91D6681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971CB3BA-A0F9-D769-3311-2AF09CA36516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1EE5CC97-B736-5575-3D91-1F35F0CDAD4B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EF6C7B26-9E41-B822-23F0-D7548072C48D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D203DB7D-28B2-F2F4-0C2C-65F6A382B8DB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9" name="Rectangle 34">
                <a:extLst>
                  <a:ext uri="{FF2B5EF4-FFF2-40B4-BE49-F238E27FC236}">
                    <a16:creationId xmlns:a16="http://schemas.microsoft.com/office/drawing/2014/main" id="{BDEDC801-0F6C-793C-EA00-B1F104159B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35">
                <a:extLst>
                  <a:ext uri="{FF2B5EF4-FFF2-40B4-BE49-F238E27FC236}">
                    <a16:creationId xmlns:a16="http://schemas.microsoft.com/office/drawing/2014/main" id="{3743B5DE-EBFF-6552-024E-FB85CEC48C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36">
                <a:extLst>
                  <a:ext uri="{FF2B5EF4-FFF2-40B4-BE49-F238E27FC236}">
                    <a16:creationId xmlns:a16="http://schemas.microsoft.com/office/drawing/2014/main" id="{88C6FD75-BE18-A94C-B05C-D0544B9BA3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7">
                <a:extLst>
                  <a:ext uri="{FF2B5EF4-FFF2-40B4-BE49-F238E27FC236}">
                    <a16:creationId xmlns:a16="http://schemas.microsoft.com/office/drawing/2014/main" id="{4785FA65-07EA-9532-04F8-87CBAC611F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8">
                <a:extLst>
                  <a:ext uri="{FF2B5EF4-FFF2-40B4-BE49-F238E27FC236}">
                    <a16:creationId xmlns:a16="http://schemas.microsoft.com/office/drawing/2014/main" id="{303FD41A-601F-E736-BB86-6A8131155E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9">
                <a:extLst>
                  <a:ext uri="{FF2B5EF4-FFF2-40B4-BE49-F238E27FC236}">
                    <a16:creationId xmlns:a16="http://schemas.microsoft.com/office/drawing/2014/main" id="{D3172646-3F0E-1DDC-F873-1F564B9ADF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0">
                <a:extLst>
                  <a:ext uri="{FF2B5EF4-FFF2-40B4-BE49-F238E27FC236}">
                    <a16:creationId xmlns:a16="http://schemas.microsoft.com/office/drawing/2014/main" id="{90D00EDD-F540-EFC7-3E67-53AC56DB83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1">
                <a:extLst>
                  <a:ext uri="{FF2B5EF4-FFF2-40B4-BE49-F238E27FC236}">
                    <a16:creationId xmlns:a16="http://schemas.microsoft.com/office/drawing/2014/main" id="{08CBB6ED-984F-4C03-09EC-96286F8B27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2">
                <a:extLst>
                  <a:ext uri="{FF2B5EF4-FFF2-40B4-BE49-F238E27FC236}">
                    <a16:creationId xmlns:a16="http://schemas.microsoft.com/office/drawing/2014/main" id="{D0F5289F-1150-9242-7875-5B5F31F8DA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3">
                <a:extLst>
                  <a:ext uri="{FF2B5EF4-FFF2-40B4-BE49-F238E27FC236}">
                    <a16:creationId xmlns:a16="http://schemas.microsoft.com/office/drawing/2014/main" id="{9FF94B65-43D5-CA2C-E621-0BEC0B9D8D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4">
                <a:extLst>
                  <a:ext uri="{FF2B5EF4-FFF2-40B4-BE49-F238E27FC236}">
                    <a16:creationId xmlns:a16="http://schemas.microsoft.com/office/drawing/2014/main" id="{FFC0A1E8-BAA1-E01B-79E4-D86D11A0B6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C0709C17-9634-E505-0A4C-20FBAD48F45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" name="Footnote measure">
              <a:extLst>
                <a:ext uri="{FF2B5EF4-FFF2-40B4-BE49-F238E27FC236}">
                  <a16:creationId xmlns:a16="http://schemas.microsoft.com/office/drawing/2014/main" id="{17F4F9F9-9069-1B66-1A84-80B518B48B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Whitespace measure">
              <a:extLst>
                <a:ext uri="{FF2B5EF4-FFF2-40B4-BE49-F238E27FC236}">
                  <a16:creationId xmlns:a16="http://schemas.microsoft.com/office/drawing/2014/main" id="{8D90D3F8-76BC-70AF-99D4-1D7DF76C7C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Five column measure">
              <a:extLst>
                <a:ext uri="{FF2B5EF4-FFF2-40B4-BE49-F238E27FC236}">
                  <a16:creationId xmlns:a16="http://schemas.microsoft.com/office/drawing/2014/main" id="{FBABE961-1403-6CD9-6720-AABBFA2BCBFF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4" name="Rectangle 5">
                <a:extLst>
                  <a:ext uri="{FF2B5EF4-FFF2-40B4-BE49-F238E27FC236}">
                    <a16:creationId xmlns:a16="http://schemas.microsoft.com/office/drawing/2014/main" id="{9E0FBD7B-590F-CD97-29AE-9A826D2E1E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Rectangle 7">
                <a:extLst>
                  <a:ext uri="{FF2B5EF4-FFF2-40B4-BE49-F238E27FC236}">
                    <a16:creationId xmlns:a16="http://schemas.microsoft.com/office/drawing/2014/main" id="{BEFFBAC8-2F6F-56DB-2DF4-4C048D79A3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9">
                <a:extLst>
                  <a:ext uri="{FF2B5EF4-FFF2-40B4-BE49-F238E27FC236}">
                    <a16:creationId xmlns:a16="http://schemas.microsoft.com/office/drawing/2014/main" id="{543CB432-18C8-C3E5-8C57-E2CF104E8D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11">
                <a:extLst>
                  <a:ext uri="{FF2B5EF4-FFF2-40B4-BE49-F238E27FC236}">
                    <a16:creationId xmlns:a16="http://schemas.microsoft.com/office/drawing/2014/main" id="{D2189B8F-CA6D-0093-E4C1-564051F3BF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13">
                <a:extLst>
                  <a:ext uri="{FF2B5EF4-FFF2-40B4-BE49-F238E27FC236}">
                    <a16:creationId xmlns:a16="http://schemas.microsoft.com/office/drawing/2014/main" id="{52349E1C-6614-C71F-700F-A4D6C301D1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" name="Live area">
              <a:extLst>
                <a:ext uri="{FF2B5EF4-FFF2-40B4-BE49-F238E27FC236}">
                  <a16:creationId xmlns:a16="http://schemas.microsoft.com/office/drawing/2014/main" id="{D09738E0-27BA-1D11-EE81-21CB1C0340B6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3" name="Footnote example">
              <a:extLst>
                <a:ext uri="{FF2B5EF4-FFF2-40B4-BE49-F238E27FC236}">
                  <a16:creationId xmlns:a16="http://schemas.microsoft.com/office/drawing/2014/main" id="{3D214117-7877-2A2B-6705-6AB767D8612A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60271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C6E36556-961C-52D2-D9AC-D92ECD5E951F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36290A98-DEC8-647C-C06D-C8AB43096EFF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111D3C9A-B908-1298-94CD-8A16FD7B2685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4B88AAA9-3265-2D7D-A48D-5BA9CE77A91C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F3145720-4385-7B22-B3B0-BDCE6A102E4F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1F7DD913-A24E-4FED-078B-F8CB1BB057E5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64731904-0FF8-1A5B-8F3F-3E1B8343CC14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6E2E7A4E-78FE-1765-3C13-CC82F887E981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DC623582-D202-920D-0359-930C8159D334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709F4B2E-E8FC-C255-D470-3D23B24565C9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FCB4FCE8-DB21-9807-28FA-776287321DBB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49238F3F-2769-F5F8-B9B9-2835AC4F160C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5CAB7FA4-2863-7F63-911D-134487A9558B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E03E6A16-84BB-A27F-8A92-42EABF2CF44D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FAE7D0E6-676B-9BE0-010C-07DD0FB83D77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0B59E072-C8A9-1335-E307-7B2674067E30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2DF85EC5-7333-6CE7-99C7-F3A15CD560A5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B0BEF89C-9983-12D7-3B37-32534B794D72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F9C6E68B-9FAA-4C92-2189-D869AF432D08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E6DE2BD3-0C88-529D-3D81-E86DDFF8E3B5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80352891-18A2-98A3-B266-4B6D935CE6E8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0D139618-82B4-3D36-CF1F-8DC10A2DF572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2D96B4B5-CFBA-3DBC-50C4-B2DC2371668D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E0AE1AA4-A66A-4593-1CBC-BAE06F6F69B8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3" name="Rectangle 34">
                <a:extLst>
                  <a:ext uri="{FF2B5EF4-FFF2-40B4-BE49-F238E27FC236}">
                    <a16:creationId xmlns:a16="http://schemas.microsoft.com/office/drawing/2014/main" id="{0B409C7F-1616-32FB-B87F-18539CB356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5">
                <a:extLst>
                  <a:ext uri="{FF2B5EF4-FFF2-40B4-BE49-F238E27FC236}">
                    <a16:creationId xmlns:a16="http://schemas.microsoft.com/office/drawing/2014/main" id="{A232F91A-4766-DF55-8C33-438E3D6695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6">
                <a:extLst>
                  <a:ext uri="{FF2B5EF4-FFF2-40B4-BE49-F238E27FC236}">
                    <a16:creationId xmlns:a16="http://schemas.microsoft.com/office/drawing/2014/main" id="{9133513B-F4B5-4C7D-6220-200B9FE7E4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7">
                <a:extLst>
                  <a:ext uri="{FF2B5EF4-FFF2-40B4-BE49-F238E27FC236}">
                    <a16:creationId xmlns:a16="http://schemas.microsoft.com/office/drawing/2014/main" id="{B09C1101-FCD1-8AF2-2D60-3B28008A52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8">
                <a:extLst>
                  <a:ext uri="{FF2B5EF4-FFF2-40B4-BE49-F238E27FC236}">
                    <a16:creationId xmlns:a16="http://schemas.microsoft.com/office/drawing/2014/main" id="{4250DE6F-5427-C4E1-3DCF-E50F3FCA48C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39">
                <a:extLst>
                  <a:ext uri="{FF2B5EF4-FFF2-40B4-BE49-F238E27FC236}">
                    <a16:creationId xmlns:a16="http://schemas.microsoft.com/office/drawing/2014/main" id="{B643E038-1650-E560-D17A-8855CFB852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0">
                <a:extLst>
                  <a:ext uri="{FF2B5EF4-FFF2-40B4-BE49-F238E27FC236}">
                    <a16:creationId xmlns:a16="http://schemas.microsoft.com/office/drawing/2014/main" id="{49059829-1348-A21E-9C8A-2B8AF86CEC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1">
                <a:extLst>
                  <a:ext uri="{FF2B5EF4-FFF2-40B4-BE49-F238E27FC236}">
                    <a16:creationId xmlns:a16="http://schemas.microsoft.com/office/drawing/2014/main" id="{840F0DBF-8152-0223-DC87-C395C3124D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2">
                <a:extLst>
                  <a:ext uri="{FF2B5EF4-FFF2-40B4-BE49-F238E27FC236}">
                    <a16:creationId xmlns:a16="http://schemas.microsoft.com/office/drawing/2014/main" id="{EE62DC92-8088-41FE-D669-77F54EFF92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3">
                <a:extLst>
                  <a:ext uri="{FF2B5EF4-FFF2-40B4-BE49-F238E27FC236}">
                    <a16:creationId xmlns:a16="http://schemas.microsoft.com/office/drawing/2014/main" id="{95B3B72A-9DA9-BBA5-8CCA-C4C78F8FEFC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44">
                <a:extLst>
                  <a:ext uri="{FF2B5EF4-FFF2-40B4-BE49-F238E27FC236}">
                    <a16:creationId xmlns:a16="http://schemas.microsoft.com/office/drawing/2014/main" id="{3F2EBC13-08A5-B2A1-9442-422F5C5571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B59FD15A-9BF6-A704-D902-2F7221E0298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" name="Footnote measure">
              <a:extLst>
                <a:ext uri="{FF2B5EF4-FFF2-40B4-BE49-F238E27FC236}">
                  <a16:creationId xmlns:a16="http://schemas.microsoft.com/office/drawing/2014/main" id="{F5FB2D66-3759-F27B-136F-DFDE846724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Whitespace measure">
              <a:extLst>
                <a:ext uri="{FF2B5EF4-FFF2-40B4-BE49-F238E27FC236}">
                  <a16:creationId xmlns:a16="http://schemas.microsoft.com/office/drawing/2014/main" id="{758AAC44-7390-5A23-7B47-621574F5B8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Five column measure">
              <a:extLst>
                <a:ext uri="{FF2B5EF4-FFF2-40B4-BE49-F238E27FC236}">
                  <a16:creationId xmlns:a16="http://schemas.microsoft.com/office/drawing/2014/main" id="{0A1824F0-E0CC-6FD3-6162-A388084C2ABC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" name="Rectangle 5">
                <a:extLst>
                  <a:ext uri="{FF2B5EF4-FFF2-40B4-BE49-F238E27FC236}">
                    <a16:creationId xmlns:a16="http://schemas.microsoft.com/office/drawing/2014/main" id="{49A9B9AB-A6B9-EECB-6D79-B2D6991643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7">
                <a:extLst>
                  <a:ext uri="{FF2B5EF4-FFF2-40B4-BE49-F238E27FC236}">
                    <a16:creationId xmlns:a16="http://schemas.microsoft.com/office/drawing/2014/main" id="{37211063-9AE9-90C1-47A4-9E82AF1B9E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9">
                <a:extLst>
                  <a:ext uri="{FF2B5EF4-FFF2-40B4-BE49-F238E27FC236}">
                    <a16:creationId xmlns:a16="http://schemas.microsoft.com/office/drawing/2014/main" id="{95D63407-5096-A175-BD4A-8A995B44B4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1">
                <a:extLst>
                  <a:ext uri="{FF2B5EF4-FFF2-40B4-BE49-F238E27FC236}">
                    <a16:creationId xmlns:a16="http://schemas.microsoft.com/office/drawing/2014/main" id="{4EACEE37-78AE-284E-F8BC-EC625B2DC4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13">
                <a:extLst>
                  <a:ext uri="{FF2B5EF4-FFF2-40B4-BE49-F238E27FC236}">
                    <a16:creationId xmlns:a16="http://schemas.microsoft.com/office/drawing/2014/main" id="{88840E44-0258-D129-4F3A-BC7A84276E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" name="Live area">
              <a:extLst>
                <a:ext uri="{FF2B5EF4-FFF2-40B4-BE49-F238E27FC236}">
                  <a16:creationId xmlns:a16="http://schemas.microsoft.com/office/drawing/2014/main" id="{058D179F-D116-A378-D5E0-4C1F67FB69FE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44131F3D-2B73-BB9D-00EF-12711C65062B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2017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87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14361" y="6094939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014361" y="5382803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014361" y="1886242"/>
            <a:ext cx="68688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accent5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7"/>
          <a:stretch>
            <a:fillRect/>
          </a:stretch>
        </p:blipFill>
        <p:spPr>
          <a:xfrm>
            <a:off x="1014361" y="0"/>
            <a:ext cx="3649041" cy="2098956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  <p:sp>
        <p:nvSpPr>
          <p:cNvPr id="15" name="Rectangle 7"/>
          <p:cNvSpPr txBox="1">
            <a:spLocks noChangeArrowheads="1"/>
          </p:cNvSpPr>
          <p:nvPr userDrawn="1"/>
        </p:nvSpPr>
        <p:spPr bwMode="auto">
          <a:xfrm>
            <a:off x="936741" y="6422087"/>
            <a:ext cx="4074858" cy="372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43" tIns="34271" rIns="68543" bIns="34271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en-US" sz="1800" b="0" i="0" dirty="0">
                <a:solidFill>
                  <a:srgbClr val="002060"/>
                </a:solidFill>
                <a:latin typeface="Franklin Gothic Demi" panose="020B0703020102020204" pitchFamily="34" charset="0"/>
                <a:cs typeface="Arial" charset="0"/>
              </a:rPr>
              <a:t>READY. RESOURCEFUL.</a:t>
            </a:r>
            <a:r>
              <a:rPr lang="en-US" altLang="en-US" sz="1800" b="0" i="0" baseline="0" dirty="0">
                <a:solidFill>
                  <a:srgbClr val="002060"/>
                </a:solidFill>
                <a:latin typeface="Franklin Gothic Demi" panose="020B0703020102020204" pitchFamily="34" charset="0"/>
                <a:cs typeface="Arial" charset="0"/>
              </a:rPr>
              <a:t> RESPONSIVE.</a:t>
            </a:r>
            <a:endParaRPr lang="en-US" altLang="en-US" sz="1800" b="0" i="0" dirty="0">
              <a:solidFill>
                <a:srgbClr val="002060"/>
              </a:solidFill>
              <a:latin typeface="Franklin Gothic Demi" panose="020B0703020102020204" pitchFamily="34" charset="0"/>
              <a:cs typeface="Arial" charset="0"/>
            </a:endParaRPr>
          </a:p>
        </p:txBody>
      </p:sp>
      <p:cxnSp>
        <p:nvCxnSpPr>
          <p:cNvPr id="18" name="Straight Connector 21"/>
          <p:cNvCxnSpPr>
            <a:cxnSpLocks noChangeShapeType="1"/>
          </p:cNvCxnSpPr>
          <p:nvPr userDrawn="1"/>
        </p:nvCxnSpPr>
        <p:spPr bwMode="auto">
          <a:xfrm>
            <a:off x="1014361" y="5017962"/>
            <a:ext cx="6868799" cy="6703"/>
          </a:xfrm>
          <a:prstGeom prst="line">
            <a:avLst/>
          </a:prstGeom>
          <a:noFill/>
          <a:ln w="25400" algn="ctr">
            <a:solidFill>
              <a:srgbClr val="FECB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083039" y="0"/>
            <a:ext cx="310896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701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35967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75201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87549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6963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2629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8100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5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73445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10934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7636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22351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Copyright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8759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81252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751513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1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5118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408354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85175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0616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459456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52077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11112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809269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836491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35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7219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64070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1458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05914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10371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23139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59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solidFill>
            <a:srgbClr val="1228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83" t="16586" r="8083" b="15308"/>
          <a:stretch/>
        </p:blipFill>
        <p:spPr>
          <a:xfrm>
            <a:off x="3163959" y="2667000"/>
            <a:ext cx="3059154" cy="1448000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383320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53555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83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14361" y="6094939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014361" y="5382803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014361" y="1886242"/>
            <a:ext cx="68688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accent5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7"/>
          <a:stretch>
            <a:fillRect/>
          </a:stretch>
        </p:blipFill>
        <p:spPr>
          <a:xfrm>
            <a:off x="1014361" y="0"/>
            <a:ext cx="3649041" cy="2098956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  <p:sp>
        <p:nvSpPr>
          <p:cNvPr id="15" name="Rectangle 7"/>
          <p:cNvSpPr txBox="1">
            <a:spLocks noChangeArrowheads="1"/>
          </p:cNvSpPr>
          <p:nvPr userDrawn="1"/>
        </p:nvSpPr>
        <p:spPr bwMode="auto">
          <a:xfrm>
            <a:off x="936741" y="6422087"/>
            <a:ext cx="4074858" cy="372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43" tIns="34271" rIns="68543" bIns="34271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en-US" sz="1800" b="0" i="0" dirty="0">
                <a:solidFill>
                  <a:srgbClr val="002060"/>
                </a:solidFill>
                <a:latin typeface="Franklin Gothic Demi" panose="020B0703020102020204" pitchFamily="34" charset="0"/>
                <a:cs typeface="Arial" charset="0"/>
              </a:rPr>
              <a:t>READY. RESOURCEFUL.</a:t>
            </a:r>
            <a:r>
              <a:rPr lang="en-US" altLang="en-US" sz="1800" b="0" i="0" baseline="0" dirty="0">
                <a:solidFill>
                  <a:srgbClr val="002060"/>
                </a:solidFill>
                <a:latin typeface="Franklin Gothic Demi" panose="020B0703020102020204" pitchFamily="34" charset="0"/>
                <a:cs typeface="Arial" charset="0"/>
              </a:rPr>
              <a:t> RESPONSIVE.</a:t>
            </a:r>
            <a:endParaRPr lang="en-US" altLang="en-US" sz="1800" b="0" i="0" dirty="0">
              <a:solidFill>
                <a:srgbClr val="002060"/>
              </a:solidFill>
              <a:latin typeface="Franklin Gothic Demi" panose="020B0703020102020204" pitchFamily="34" charset="0"/>
              <a:cs typeface="Arial" charset="0"/>
            </a:endParaRPr>
          </a:p>
        </p:txBody>
      </p:sp>
      <p:cxnSp>
        <p:nvCxnSpPr>
          <p:cNvPr id="18" name="Straight Connector 21"/>
          <p:cNvCxnSpPr>
            <a:cxnSpLocks noChangeShapeType="1"/>
          </p:cNvCxnSpPr>
          <p:nvPr userDrawn="1"/>
        </p:nvCxnSpPr>
        <p:spPr bwMode="auto">
          <a:xfrm>
            <a:off x="1014361" y="5017962"/>
            <a:ext cx="6868799" cy="6703"/>
          </a:xfrm>
          <a:prstGeom prst="line">
            <a:avLst/>
          </a:prstGeom>
          <a:noFill/>
          <a:ln w="25400" algn="ctr">
            <a:solidFill>
              <a:srgbClr val="FECB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083039" y="0"/>
            <a:ext cx="310896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860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96523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60237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09946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152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3147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891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02250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9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59539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Four colum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13656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9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3431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8299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622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07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7429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103140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1235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340718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034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8106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070398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9833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48118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450544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752137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31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979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165973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4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0790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1349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1412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30702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34914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55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solidFill>
            <a:srgbClr val="1228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83" t="16586" r="8083" b="15308"/>
          <a:stretch/>
        </p:blipFill>
        <p:spPr>
          <a:xfrm>
            <a:off x="2971801" y="2667000"/>
            <a:ext cx="3059154" cy="1448000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621887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09813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7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113738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2670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5987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424264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428178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9142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2653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.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9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616170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919823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4413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41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 descr="A submarine in the water&#10;&#10;Description automatically generated">
            <a:extLst>
              <a:ext uri="{FF2B5EF4-FFF2-40B4-BE49-F238E27FC236}">
                <a16:creationId xmlns:a16="http://schemas.microsoft.com/office/drawing/2014/main" id="{E32D9992-4C71-4644-8CE5-25CAEBBD376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470151" y="0"/>
            <a:ext cx="8296275" cy="6858000"/>
          </a:xfrm>
          <a:custGeom>
            <a:avLst/>
            <a:gdLst>
              <a:gd name="connsiteX0" fmla="*/ 4143399 w 8296275"/>
              <a:gd name="connsiteY0" fmla="*/ 0 h 6858000"/>
              <a:gd name="connsiteX1" fmla="*/ 8296275 w 8296275"/>
              <a:gd name="connsiteY1" fmla="*/ 0 h 6858000"/>
              <a:gd name="connsiteX2" fmla="*/ 4152877 w 8296275"/>
              <a:gd name="connsiteY2" fmla="*/ 6858000 h 6858000"/>
              <a:gd name="connsiteX3" fmla="*/ 0 w 829627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96275" h="6858000">
                <a:moveTo>
                  <a:pt x="4143399" y="0"/>
                </a:moveTo>
                <a:lnTo>
                  <a:pt x="8296275" y="0"/>
                </a:lnTo>
                <a:lnTo>
                  <a:pt x="4152877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16" name="Picture 15" descr="A group of boats in the water&#10;&#10;Description automatically generated">
            <a:extLst>
              <a:ext uri="{FF2B5EF4-FFF2-40B4-BE49-F238E27FC236}">
                <a16:creationId xmlns:a16="http://schemas.microsoft.com/office/drawing/2014/main" id="{A03B6E11-7A5F-4279-9FD2-CE135D12305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756400" y="0"/>
            <a:ext cx="5435600" cy="6858000"/>
          </a:xfrm>
          <a:custGeom>
            <a:avLst/>
            <a:gdLst>
              <a:gd name="connsiteX0" fmla="*/ 4143398 w 5435600"/>
              <a:gd name="connsiteY0" fmla="*/ 0 h 6858000"/>
              <a:gd name="connsiteX1" fmla="*/ 5435600 w 5435600"/>
              <a:gd name="connsiteY1" fmla="*/ 0 h 6858000"/>
              <a:gd name="connsiteX2" fmla="*/ 5435600 w 5435600"/>
              <a:gd name="connsiteY2" fmla="*/ 4734885 h 6858000"/>
              <a:gd name="connsiteX3" fmla="*/ 4152877 w 5435600"/>
              <a:gd name="connsiteY3" fmla="*/ 6858000 h 6858000"/>
              <a:gd name="connsiteX4" fmla="*/ 0 w 543560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35600" h="6858000">
                <a:moveTo>
                  <a:pt x="4143398" y="0"/>
                </a:moveTo>
                <a:lnTo>
                  <a:pt x="5435600" y="0"/>
                </a:lnTo>
                <a:lnTo>
                  <a:pt x="5435600" y="4734885"/>
                </a:lnTo>
                <a:lnTo>
                  <a:pt x="4152877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ECF4FFD7-FCE8-43CF-AEB3-5A2DFED31DAC}"/>
              </a:ext>
            </a:extLst>
          </p:cNvPr>
          <p:cNvSpPr/>
          <p:nvPr userDrawn="1"/>
        </p:nvSpPr>
        <p:spPr>
          <a:xfrm flipH="1">
            <a:off x="11042650" y="4940109"/>
            <a:ext cx="1149350" cy="1917892"/>
          </a:xfrm>
          <a:custGeom>
            <a:avLst/>
            <a:gdLst>
              <a:gd name="connsiteX0" fmla="*/ 0 w 1149350"/>
              <a:gd name="connsiteY0" fmla="*/ 0 h 1917892"/>
              <a:gd name="connsiteX1" fmla="*/ 0 w 1149350"/>
              <a:gd name="connsiteY1" fmla="*/ 1917892 h 1917892"/>
              <a:gd name="connsiteX2" fmla="*/ 1149350 w 1149350"/>
              <a:gd name="connsiteY2" fmla="*/ 1917892 h 1917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49350" h="1917892">
                <a:moveTo>
                  <a:pt x="0" y="0"/>
                </a:moveTo>
                <a:lnTo>
                  <a:pt x="0" y="1917892"/>
                </a:lnTo>
                <a:lnTo>
                  <a:pt x="1149350" y="1917892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9013B216-FA6C-4772-B747-4454B4FB4E63}"/>
              </a:ext>
            </a:extLst>
          </p:cNvPr>
          <p:cNvSpPr/>
          <p:nvPr userDrawn="1"/>
        </p:nvSpPr>
        <p:spPr>
          <a:xfrm rot="18065892">
            <a:off x="219788" y="3308763"/>
            <a:ext cx="8154085" cy="240475"/>
          </a:xfrm>
          <a:custGeom>
            <a:avLst/>
            <a:gdLst>
              <a:gd name="connsiteX0" fmla="*/ 8075701 w 8154085"/>
              <a:gd name="connsiteY0" fmla="*/ 110526 h 240475"/>
              <a:gd name="connsiteX1" fmla="*/ 8154085 w 8154085"/>
              <a:gd name="connsiteY1" fmla="*/ 240475 h 240475"/>
              <a:gd name="connsiteX2" fmla="*/ 460570 w 8154085"/>
              <a:gd name="connsiteY2" fmla="*/ 240475 h 240475"/>
              <a:gd name="connsiteX3" fmla="*/ 460570 w 8154085"/>
              <a:gd name="connsiteY3" fmla="*/ 236024 h 240475"/>
              <a:gd name="connsiteX4" fmla="*/ 142369 w 8154085"/>
              <a:gd name="connsiteY4" fmla="*/ 236024 h 240475"/>
              <a:gd name="connsiteX5" fmla="*/ 0 w 8154085"/>
              <a:gd name="connsiteY5" fmla="*/ 0 h 240475"/>
              <a:gd name="connsiteX6" fmla="*/ 2860898 w 8154085"/>
              <a:gd name="connsiteY6" fmla="*/ 0 h 240475"/>
              <a:gd name="connsiteX7" fmla="*/ 2971423 w 8154085"/>
              <a:gd name="connsiteY7" fmla="*/ 110526 h 240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154085" h="240475">
                <a:moveTo>
                  <a:pt x="8075701" y="110526"/>
                </a:moveTo>
                <a:lnTo>
                  <a:pt x="8154085" y="240475"/>
                </a:lnTo>
                <a:lnTo>
                  <a:pt x="460570" y="240475"/>
                </a:lnTo>
                <a:lnTo>
                  <a:pt x="460570" y="236024"/>
                </a:lnTo>
                <a:lnTo>
                  <a:pt x="142369" y="236024"/>
                </a:lnTo>
                <a:lnTo>
                  <a:pt x="0" y="0"/>
                </a:lnTo>
                <a:lnTo>
                  <a:pt x="2860898" y="0"/>
                </a:lnTo>
                <a:lnTo>
                  <a:pt x="2971423" y="110526"/>
                </a:lnTo>
                <a:close/>
              </a:path>
            </a:pathLst>
          </a:cu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630000" y="3026838"/>
            <a:ext cx="2852340" cy="18768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tx1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630000" y="2346469"/>
            <a:ext cx="3827700" cy="281552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l">
              <a:lnSpc>
                <a:spcPct val="110000"/>
              </a:lnSpc>
              <a:buNone/>
              <a:defRPr sz="1800" baseline="0">
                <a:solidFill>
                  <a:schemeClr val="tx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630000" y="688204"/>
            <a:ext cx="4262040" cy="1259447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lnSpc>
                <a:spcPct val="93000"/>
              </a:lnSpc>
              <a:defRPr sz="44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B91042EA-E0B7-40D4-A9A4-64196B2CA9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52629" y="5523251"/>
            <a:ext cx="2656609" cy="1149494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633149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EC46368-07B6-4292-9919-DC0C5FF1DB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65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C46368-07B6-4292-9919-DC0C5FF1DB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686050" y="622799"/>
            <a:ext cx="8877149" cy="470898"/>
          </a:xfrm>
          <a:prstGeom prst="rect">
            <a:avLst/>
          </a:prstGeom>
        </p:spPr>
        <p:txBody>
          <a:bodyPr vert="horz" wrap="square" lIns="0" tIns="0" rIns="0" bIns="0" anchor="ctr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261A04B-02F3-4F64-80E7-2AF5150E46FE}"/>
              </a:ext>
            </a:extLst>
          </p:cNvPr>
          <p:cNvGrpSpPr/>
          <p:nvPr userDrawn="1"/>
        </p:nvGrpSpPr>
        <p:grpSpPr>
          <a:xfrm>
            <a:off x="423198" y="-2418"/>
            <a:ext cx="1993900" cy="1718915"/>
            <a:chOff x="423198" y="-2418"/>
            <a:chExt cx="1993900" cy="1718915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ADB4298-AF1F-489F-B367-32E61ABD7563}"/>
                </a:ext>
              </a:extLst>
            </p:cNvPr>
            <p:cNvSpPr/>
            <p:nvPr/>
          </p:nvSpPr>
          <p:spPr>
            <a:xfrm>
              <a:off x="629399" y="-2418"/>
              <a:ext cx="1581497" cy="1718915"/>
            </a:xfrm>
            <a:prstGeom prst="rect">
              <a:avLst/>
            </a:prstGeom>
            <a:solidFill>
              <a:srgbClr val="3599DB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CDFCF86-9362-4F32-8AF6-BB198BDEC62B}"/>
                </a:ext>
              </a:extLst>
            </p:cNvPr>
            <p:cNvSpPr/>
            <p:nvPr/>
          </p:nvSpPr>
          <p:spPr>
            <a:xfrm>
              <a:off x="423198" y="188777"/>
              <a:ext cx="1993900" cy="1338943"/>
            </a:xfrm>
            <a:prstGeom prst="rect">
              <a:avLst/>
            </a:prstGeom>
            <a:solidFill>
              <a:schemeClr val="tx2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ECFA84E5-B47D-460F-A9B5-3405F18CE9F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clrChange>
                <a:clrFrom>
                  <a:srgbClr val="12284B"/>
                </a:clrFrom>
                <a:clrTo>
                  <a:srgbClr val="12284B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6578" y="480263"/>
              <a:ext cx="1747140" cy="755972"/>
            </a:xfrm>
            <a:custGeom>
              <a:avLst/>
              <a:gdLst>
                <a:gd name="connsiteX0" fmla="*/ 0 w 3649041"/>
                <a:gd name="connsiteY0" fmla="*/ 0 h 2098956"/>
                <a:gd name="connsiteX1" fmla="*/ 3649041 w 3649041"/>
                <a:gd name="connsiteY1" fmla="*/ 0 h 2098956"/>
                <a:gd name="connsiteX2" fmla="*/ 3649041 w 3649041"/>
                <a:gd name="connsiteY2" fmla="*/ 2098956 h 2098956"/>
                <a:gd name="connsiteX3" fmla="*/ 0 w 3649041"/>
                <a:gd name="connsiteY3" fmla="*/ 2098956 h 2098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49041" h="2098956">
                  <a:moveTo>
                    <a:pt x="0" y="0"/>
                  </a:moveTo>
                  <a:lnTo>
                    <a:pt x="3649041" y="0"/>
                  </a:lnTo>
                  <a:lnTo>
                    <a:pt x="3649041" y="2098956"/>
                  </a:lnTo>
                  <a:lnTo>
                    <a:pt x="0" y="2098956"/>
                  </a:lnTo>
                  <a:close/>
                </a:path>
              </a:pathLst>
            </a:custGeom>
          </p:spPr>
        </p:pic>
      </p:grpSp>
    </p:spTree>
    <p:extLst>
      <p:ext uri="{BB962C8B-B14F-4D97-AF65-F5344CB8AC3E}">
        <p14:creationId xmlns:p14="http://schemas.microsoft.com/office/powerpoint/2010/main" val="1331879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97C874C-43A8-4676-B50A-6D6D30D2A3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9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7C874C-43A8-4676-B50A-6D6D30D2A3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BC51CD4-CF88-42B5-A476-B708D0B6F69C}"/>
              </a:ext>
            </a:extLst>
          </p:cNvPr>
          <p:cNvGrpSpPr/>
          <p:nvPr userDrawn="1"/>
        </p:nvGrpSpPr>
        <p:grpSpPr>
          <a:xfrm>
            <a:off x="423198" y="-2418"/>
            <a:ext cx="1993900" cy="1718915"/>
            <a:chOff x="423198" y="-2418"/>
            <a:chExt cx="1993900" cy="1718915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B76EC99E-6DD2-49CC-8C63-F6A0C9BFA009}"/>
                </a:ext>
              </a:extLst>
            </p:cNvPr>
            <p:cNvSpPr/>
            <p:nvPr/>
          </p:nvSpPr>
          <p:spPr>
            <a:xfrm>
              <a:off x="629399" y="-2418"/>
              <a:ext cx="1581497" cy="1718915"/>
            </a:xfrm>
            <a:prstGeom prst="rect">
              <a:avLst/>
            </a:prstGeom>
            <a:solidFill>
              <a:srgbClr val="3599DB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F7C38A7-7CC7-4CCB-8A6C-B190E2429174}"/>
                </a:ext>
              </a:extLst>
            </p:cNvPr>
            <p:cNvSpPr/>
            <p:nvPr/>
          </p:nvSpPr>
          <p:spPr>
            <a:xfrm>
              <a:off x="423198" y="188777"/>
              <a:ext cx="1993900" cy="1338943"/>
            </a:xfrm>
            <a:prstGeom prst="rect">
              <a:avLst/>
            </a:prstGeom>
            <a:solidFill>
              <a:schemeClr val="tx2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45F7F3DB-6895-4CF8-9027-2C740EB4C34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clrChange>
                <a:clrFrom>
                  <a:srgbClr val="12284B"/>
                </a:clrFrom>
                <a:clrTo>
                  <a:srgbClr val="12284B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6578" y="480263"/>
              <a:ext cx="1747140" cy="755972"/>
            </a:xfrm>
            <a:custGeom>
              <a:avLst/>
              <a:gdLst>
                <a:gd name="connsiteX0" fmla="*/ 0 w 3649041"/>
                <a:gd name="connsiteY0" fmla="*/ 0 h 2098956"/>
                <a:gd name="connsiteX1" fmla="*/ 3649041 w 3649041"/>
                <a:gd name="connsiteY1" fmla="*/ 0 h 2098956"/>
                <a:gd name="connsiteX2" fmla="*/ 3649041 w 3649041"/>
                <a:gd name="connsiteY2" fmla="*/ 2098956 h 2098956"/>
                <a:gd name="connsiteX3" fmla="*/ 0 w 3649041"/>
                <a:gd name="connsiteY3" fmla="*/ 2098956 h 2098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49041" h="2098956">
                  <a:moveTo>
                    <a:pt x="0" y="0"/>
                  </a:moveTo>
                  <a:lnTo>
                    <a:pt x="3649041" y="0"/>
                  </a:lnTo>
                  <a:lnTo>
                    <a:pt x="3649041" y="2098956"/>
                  </a:lnTo>
                  <a:lnTo>
                    <a:pt x="0" y="2098956"/>
                  </a:lnTo>
                  <a:close/>
                </a:path>
              </a:pathLst>
            </a:custGeom>
          </p:spPr>
        </p:pic>
      </p:grpSp>
      <p:sp>
        <p:nvSpPr>
          <p:cNvPr id="11" name="Title 4">
            <a:extLst>
              <a:ext uri="{FF2B5EF4-FFF2-40B4-BE49-F238E27FC236}">
                <a16:creationId xmlns:a16="http://schemas.microsoft.com/office/drawing/2014/main" id="{026C59A6-3299-4C12-95DD-0DDDE29416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6050" y="622799"/>
            <a:ext cx="8877149" cy="470898"/>
          </a:xfrm>
          <a:prstGeom prst="rect">
            <a:avLst/>
          </a:prstGeom>
        </p:spPr>
        <p:txBody>
          <a:bodyPr vert="horz" wrap="square" lIns="0" tIns="0" rIns="0" bIns="0" anchor="ctr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50868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shes Vision Statem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EC46368-07B6-4292-9919-DC0C5FF1DB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13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C46368-07B6-4292-9919-DC0C5FF1DB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672BBDA5-F3E1-4A61-B7D8-69AA04CE20FA}"/>
              </a:ext>
            </a:extLst>
          </p:cNvPr>
          <p:cNvSpPr/>
          <p:nvPr userDrawn="1"/>
        </p:nvSpPr>
        <p:spPr>
          <a:xfrm>
            <a:off x="3466383" y="0"/>
            <a:ext cx="1120598" cy="990600"/>
          </a:xfrm>
          <a:prstGeom prst="triangle">
            <a:avLst/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913E0C66-A4AB-4714-AA8F-AEAFFCA1EFD7}"/>
              </a:ext>
            </a:extLst>
          </p:cNvPr>
          <p:cNvSpPr/>
          <p:nvPr userDrawn="1"/>
        </p:nvSpPr>
        <p:spPr>
          <a:xfrm flipV="1">
            <a:off x="7604905" y="5867400"/>
            <a:ext cx="1120598" cy="990600"/>
          </a:xfrm>
          <a:prstGeom prst="triangle">
            <a:avLst/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00961174-A7E3-49AE-9B55-9450D2D97D16}"/>
              </a:ext>
            </a:extLst>
          </p:cNvPr>
          <p:cNvSpPr/>
          <p:nvPr userDrawn="1"/>
        </p:nvSpPr>
        <p:spPr>
          <a:xfrm>
            <a:off x="2510972" y="558800"/>
            <a:ext cx="7322456" cy="5713030"/>
          </a:xfrm>
          <a:prstGeom prst="parallelogram">
            <a:avLst>
              <a:gd name="adj" fmla="val 16775"/>
            </a:avLst>
          </a:prstGeom>
          <a:solidFill>
            <a:schemeClr val="bg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DC874074-FF57-4068-9734-3424BC00B2BA}"/>
              </a:ext>
            </a:extLst>
          </p:cNvPr>
          <p:cNvSpPr/>
          <p:nvPr userDrawn="1"/>
        </p:nvSpPr>
        <p:spPr>
          <a:xfrm flipH="1" flipV="1">
            <a:off x="5826" y="0"/>
            <a:ext cx="4020265" cy="6858000"/>
          </a:xfrm>
          <a:custGeom>
            <a:avLst/>
            <a:gdLst>
              <a:gd name="connsiteX0" fmla="*/ 4020265 w 4020265"/>
              <a:gd name="connsiteY0" fmla="*/ 6858000 h 6858000"/>
              <a:gd name="connsiteX1" fmla="*/ 0 w 4020265"/>
              <a:gd name="connsiteY1" fmla="*/ 6858000 h 6858000"/>
              <a:gd name="connsiteX2" fmla="*/ 1341682 w 4020265"/>
              <a:gd name="connsiteY2" fmla="*/ 0 h 6858000"/>
              <a:gd name="connsiteX3" fmla="*/ 4020265 w 4020265"/>
              <a:gd name="connsiteY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20265" h="6858000">
                <a:moveTo>
                  <a:pt x="4020265" y="6858000"/>
                </a:moveTo>
                <a:lnTo>
                  <a:pt x="0" y="6858000"/>
                </a:lnTo>
                <a:lnTo>
                  <a:pt x="1341682" y="0"/>
                </a:lnTo>
                <a:lnTo>
                  <a:pt x="4020265" y="0"/>
                </a:lnTo>
                <a:close/>
              </a:path>
            </a:pathLst>
          </a:custGeom>
          <a:solidFill>
            <a:srgbClr val="00206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6F675FEF-921F-4FDA-A0C9-0C55C43B1CE4}"/>
              </a:ext>
            </a:extLst>
          </p:cNvPr>
          <p:cNvSpPr/>
          <p:nvPr userDrawn="1"/>
        </p:nvSpPr>
        <p:spPr>
          <a:xfrm flipH="1" flipV="1">
            <a:off x="5826" y="1"/>
            <a:ext cx="3170576" cy="6858000"/>
          </a:xfrm>
          <a:custGeom>
            <a:avLst/>
            <a:gdLst>
              <a:gd name="connsiteX0" fmla="*/ 3170576 w 3170576"/>
              <a:gd name="connsiteY0" fmla="*/ 6858000 h 6858000"/>
              <a:gd name="connsiteX1" fmla="*/ 0 w 3170576"/>
              <a:gd name="connsiteY1" fmla="*/ 6858000 h 6858000"/>
              <a:gd name="connsiteX2" fmla="*/ 1341682 w 3170576"/>
              <a:gd name="connsiteY2" fmla="*/ 0 h 6858000"/>
              <a:gd name="connsiteX3" fmla="*/ 3170576 w 3170576"/>
              <a:gd name="connsiteY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70576" h="6858000">
                <a:moveTo>
                  <a:pt x="3170576" y="6858000"/>
                </a:moveTo>
                <a:lnTo>
                  <a:pt x="0" y="6858000"/>
                </a:lnTo>
                <a:lnTo>
                  <a:pt x="1341682" y="0"/>
                </a:lnTo>
                <a:lnTo>
                  <a:pt x="3170576" y="0"/>
                </a:lnTo>
                <a:close/>
              </a:path>
            </a:pathLst>
          </a:cu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D49251F1-A0B0-4598-9A47-07D1E6CC043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624114" y="0"/>
            <a:ext cx="3550135" cy="6858000"/>
          </a:xfrm>
          <a:custGeom>
            <a:avLst/>
            <a:gdLst>
              <a:gd name="connsiteX0" fmla="*/ 624114 w 3550135"/>
              <a:gd name="connsiteY0" fmla="*/ 0 h 6858000"/>
              <a:gd name="connsiteX1" fmla="*/ 1335206 w 3550135"/>
              <a:gd name="connsiteY1" fmla="*/ 0 h 6858000"/>
              <a:gd name="connsiteX2" fmla="*/ 1592271 w 3550135"/>
              <a:gd name="connsiteY2" fmla="*/ 0 h 6858000"/>
              <a:gd name="connsiteX3" fmla="*/ 3550135 w 3550135"/>
              <a:gd name="connsiteY3" fmla="*/ 0 h 6858000"/>
              <a:gd name="connsiteX4" fmla="*/ 2214929 w 3550135"/>
              <a:gd name="connsiteY4" fmla="*/ 6858000 h 6858000"/>
              <a:gd name="connsiteX5" fmla="*/ 1592271 w 3550135"/>
              <a:gd name="connsiteY5" fmla="*/ 6858000 h 6858000"/>
              <a:gd name="connsiteX6" fmla="*/ 0 w 3550135"/>
              <a:gd name="connsiteY6" fmla="*/ 6858000 h 6858000"/>
              <a:gd name="connsiteX7" fmla="*/ 0 w 3550135"/>
              <a:gd name="connsiteY7" fmla="*/ 6857999 h 6858000"/>
              <a:gd name="connsiteX8" fmla="*/ 624114 w 3550135"/>
              <a:gd name="connsiteY8" fmla="*/ 685799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50135" h="6858000">
                <a:moveTo>
                  <a:pt x="624114" y="0"/>
                </a:moveTo>
                <a:lnTo>
                  <a:pt x="1335206" y="0"/>
                </a:lnTo>
                <a:lnTo>
                  <a:pt x="1592271" y="0"/>
                </a:lnTo>
                <a:lnTo>
                  <a:pt x="3550135" y="0"/>
                </a:lnTo>
                <a:lnTo>
                  <a:pt x="2214929" y="6858000"/>
                </a:lnTo>
                <a:lnTo>
                  <a:pt x="1592271" y="6858000"/>
                </a:lnTo>
                <a:lnTo>
                  <a:pt x="0" y="6858000"/>
                </a:lnTo>
                <a:lnTo>
                  <a:pt x="0" y="6857999"/>
                </a:lnTo>
                <a:lnTo>
                  <a:pt x="624114" y="6857999"/>
                </a:lnTo>
                <a:close/>
              </a:path>
            </a:pathLst>
          </a:custGeom>
        </p:spPr>
      </p:pic>
      <p:sp>
        <p:nvSpPr>
          <p:cNvPr id="3" name="Date Placeholder 2"/>
          <p:cNvSpPr>
            <a:spLocks noGrp="1"/>
          </p:cNvSpPr>
          <p:nvPr userDrawn="1"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AAC260E-813E-4933-A9BD-32385C4EF4F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258448" y="1476322"/>
            <a:ext cx="3676451" cy="3877985"/>
          </a:xfrm>
        </p:spPr>
        <p:txBody>
          <a:bodyPr vert="horz" anchor="ctr">
            <a:noAutofit/>
          </a:bodyPr>
          <a:lstStyle>
            <a:lvl1pPr algn="ctr">
              <a:defRPr sz="28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6272D757-8B38-4CAF-A041-032E69242CA8}"/>
              </a:ext>
            </a:extLst>
          </p:cNvPr>
          <p:cNvSpPr/>
          <p:nvPr userDrawn="1"/>
        </p:nvSpPr>
        <p:spPr>
          <a:xfrm>
            <a:off x="8165795" y="1"/>
            <a:ext cx="4020265" cy="6858000"/>
          </a:xfrm>
          <a:custGeom>
            <a:avLst/>
            <a:gdLst>
              <a:gd name="connsiteX0" fmla="*/ 4020265 w 4020265"/>
              <a:gd name="connsiteY0" fmla="*/ 6858000 h 6858000"/>
              <a:gd name="connsiteX1" fmla="*/ 0 w 4020265"/>
              <a:gd name="connsiteY1" fmla="*/ 6858000 h 6858000"/>
              <a:gd name="connsiteX2" fmla="*/ 1341682 w 4020265"/>
              <a:gd name="connsiteY2" fmla="*/ 0 h 6858000"/>
              <a:gd name="connsiteX3" fmla="*/ 4020265 w 4020265"/>
              <a:gd name="connsiteY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20265" h="6858000">
                <a:moveTo>
                  <a:pt x="4020265" y="6858000"/>
                </a:moveTo>
                <a:lnTo>
                  <a:pt x="0" y="6858000"/>
                </a:lnTo>
                <a:lnTo>
                  <a:pt x="1341682" y="0"/>
                </a:lnTo>
                <a:lnTo>
                  <a:pt x="4020265" y="0"/>
                </a:lnTo>
                <a:close/>
              </a:path>
            </a:pathLst>
          </a:custGeom>
          <a:solidFill>
            <a:srgbClr val="00206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85DE6776-8594-49C8-9D5C-536E25490999}"/>
              </a:ext>
            </a:extLst>
          </p:cNvPr>
          <p:cNvSpPr/>
          <p:nvPr userDrawn="1"/>
        </p:nvSpPr>
        <p:spPr>
          <a:xfrm>
            <a:off x="9015484" y="0"/>
            <a:ext cx="3170576" cy="6858000"/>
          </a:xfrm>
          <a:custGeom>
            <a:avLst/>
            <a:gdLst>
              <a:gd name="connsiteX0" fmla="*/ 3170576 w 3170576"/>
              <a:gd name="connsiteY0" fmla="*/ 6858000 h 6858000"/>
              <a:gd name="connsiteX1" fmla="*/ 0 w 3170576"/>
              <a:gd name="connsiteY1" fmla="*/ 6858000 h 6858000"/>
              <a:gd name="connsiteX2" fmla="*/ 1341682 w 3170576"/>
              <a:gd name="connsiteY2" fmla="*/ 0 h 6858000"/>
              <a:gd name="connsiteX3" fmla="*/ 3170576 w 3170576"/>
              <a:gd name="connsiteY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70576" h="6858000">
                <a:moveTo>
                  <a:pt x="3170576" y="6858000"/>
                </a:moveTo>
                <a:lnTo>
                  <a:pt x="0" y="6858000"/>
                </a:lnTo>
                <a:lnTo>
                  <a:pt x="1341682" y="0"/>
                </a:lnTo>
                <a:lnTo>
                  <a:pt x="3170576" y="0"/>
                </a:lnTo>
                <a:close/>
              </a:path>
            </a:pathLst>
          </a:cu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pic>
        <p:nvPicPr>
          <p:cNvPr id="32" name="Picture 31" descr="A jet on the runway&#10;&#10;Description automatically generated">
            <a:extLst>
              <a:ext uri="{FF2B5EF4-FFF2-40B4-BE49-F238E27FC236}">
                <a16:creationId xmlns:a16="http://schemas.microsoft.com/office/drawing/2014/main" id="{9E8CAB02-FA0D-4D08-9AA9-B527FFF1B5F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265982" y="0"/>
            <a:ext cx="3550135" cy="6858000"/>
          </a:xfrm>
          <a:custGeom>
            <a:avLst/>
            <a:gdLst>
              <a:gd name="connsiteX0" fmla="*/ 3550134 w 3550135"/>
              <a:gd name="connsiteY0" fmla="*/ 0 h 6858000"/>
              <a:gd name="connsiteX1" fmla="*/ 3550135 w 3550135"/>
              <a:gd name="connsiteY1" fmla="*/ 0 h 6858000"/>
              <a:gd name="connsiteX2" fmla="*/ 3550135 w 3550135"/>
              <a:gd name="connsiteY2" fmla="*/ 6858000 h 6858000"/>
              <a:gd name="connsiteX3" fmla="*/ 3550134 w 3550135"/>
              <a:gd name="connsiteY3" fmla="*/ 6858000 h 6858000"/>
              <a:gd name="connsiteX4" fmla="*/ 1338015 w 3550135"/>
              <a:gd name="connsiteY4" fmla="*/ 0 h 6858000"/>
              <a:gd name="connsiteX5" fmla="*/ 2926020 w 3550135"/>
              <a:gd name="connsiteY5" fmla="*/ 0 h 6858000"/>
              <a:gd name="connsiteX6" fmla="*/ 2926020 w 3550135"/>
              <a:gd name="connsiteY6" fmla="*/ 6858000 h 6858000"/>
              <a:gd name="connsiteX7" fmla="*/ 0 w 3550135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50135" h="6858000">
                <a:moveTo>
                  <a:pt x="3550134" y="0"/>
                </a:moveTo>
                <a:lnTo>
                  <a:pt x="3550135" y="0"/>
                </a:lnTo>
                <a:lnTo>
                  <a:pt x="3550135" y="6858000"/>
                </a:lnTo>
                <a:lnTo>
                  <a:pt x="3550134" y="6858000"/>
                </a:lnTo>
                <a:close/>
                <a:moveTo>
                  <a:pt x="1338015" y="0"/>
                </a:moveTo>
                <a:lnTo>
                  <a:pt x="2926020" y="0"/>
                </a:lnTo>
                <a:lnTo>
                  <a:pt x="2926020" y="6858000"/>
                </a:lnTo>
                <a:lnTo>
                  <a:pt x="0" y="68580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8361417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shes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EC46368-07B6-4292-9919-DC0C5FF1DB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37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C46368-07B6-4292-9919-DC0C5FF1DB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913E0C66-A4AB-4714-AA8F-AEAFFCA1EFD7}"/>
              </a:ext>
            </a:extLst>
          </p:cNvPr>
          <p:cNvSpPr/>
          <p:nvPr userDrawn="1"/>
        </p:nvSpPr>
        <p:spPr>
          <a:xfrm flipV="1">
            <a:off x="6931584" y="5867400"/>
            <a:ext cx="1120598" cy="990600"/>
          </a:xfrm>
          <a:prstGeom prst="triangle">
            <a:avLst/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672BBDA5-F3E1-4A61-B7D8-69AA04CE20FA}"/>
              </a:ext>
            </a:extLst>
          </p:cNvPr>
          <p:cNvSpPr/>
          <p:nvPr userDrawn="1"/>
        </p:nvSpPr>
        <p:spPr>
          <a:xfrm>
            <a:off x="943074" y="0"/>
            <a:ext cx="1120598" cy="990600"/>
          </a:xfrm>
          <a:prstGeom prst="triangle">
            <a:avLst/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00961174-A7E3-49AE-9B55-9450D2D97D16}"/>
              </a:ext>
            </a:extLst>
          </p:cNvPr>
          <p:cNvSpPr/>
          <p:nvPr userDrawn="1"/>
        </p:nvSpPr>
        <p:spPr>
          <a:xfrm>
            <a:off x="127000" y="558800"/>
            <a:ext cx="8775700" cy="5713030"/>
          </a:xfrm>
          <a:prstGeom prst="parallelogram">
            <a:avLst>
              <a:gd name="adj" fmla="val 16775"/>
            </a:avLst>
          </a:prstGeom>
          <a:solidFill>
            <a:schemeClr val="bg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FC35CBE6-0516-4ED0-B35D-894AF25CA79A}"/>
              </a:ext>
            </a:extLst>
          </p:cNvPr>
          <p:cNvSpPr/>
          <p:nvPr userDrawn="1"/>
        </p:nvSpPr>
        <p:spPr>
          <a:xfrm>
            <a:off x="7491884" y="0"/>
            <a:ext cx="4700117" cy="6858000"/>
          </a:xfrm>
          <a:custGeom>
            <a:avLst/>
            <a:gdLst>
              <a:gd name="connsiteX0" fmla="*/ 1341682 w 4700117"/>
              <a:gd name="connsiteY0" fmla="*/ 0 h 6858000"/>
              <a:gd name="connsiteX1" fmla="*/ 4700117 w 4700117"/>
              <a:gd name="connsiteY1" fmla="*/ 0 h 6858000"/>
              <a:gd name="connsiteX2" fmla="*/ 4700117 w 4700117"/>
              <a:gd name="connsiteY2" fmla="*/ 6858000 h 6858000"/>
              <a:gd name="connsiteX3" fmla="*/ 0 w 470011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00117" h="6858000">
                <a:moveTo>
                  <a:pt x="1341682" y="0"/>
                </a:moveTo>
                <a:lnTo>
                  <a:pt x="4700117" y="0"/>
                </a:lnTo>
                <a:lnTo>
                  <a:pt x="4700117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206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6248D0E0-4023-4339-8851-9F55B8330086}"/>
              </a:ext>
            </a:extLst>
          </p:cNvPr>
          <p:cNvSpPr/>
          <p:nvPr userDrawn="1"/>
        </p:nvSpPr>
        <p:spPr>
          <a:xfrm>
            <a:off x="8367898" y="-1"/>
            <a:ext cx="3824102" cy="6858000"/>
          </a:xfrm>
          <a:custGeom>
            <a:avLst/>
            <a:gdLst>
              <a:gd name="connsiteX0" fmla="*/ 1341682 w 3824102"/>
              <a:gd name="connsiteY0" fmla="*/ 0 h 6858000"/>
              <a:gd name="connsiteX1" fmla="*/ 3824102 w 3824102"/>
              <a:gd name="connsiteY1" fmla="*/ 0 h 6858000"/>
              <a:gd name="connsiteX2" fmla="*/ 3824102 w 3824102"/>
              <a:gd name="connsiteY2" fmla="*/ 6858000 h 6858000"/>
              <a:gd name="connsiteX3" fmla="*/ 0 w 382410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24102" h="6858000">
                <a:moveTo>
                  <a:pt x="1341682" y="0"/>
                </a:moveTo>
                <a:lnTo>
                  <a:pt x="3824102" y="0"/>
                </a:lnTo>
                <a:lnTo>
                  <a:pt x="382410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74835CE2-E1D6-4103-9DFC-837846CB9313}"/>
              </a:ext>
            </a:extLst>
          </p:cNvPr>
          <p:cNvSpPr/>
          <p:nvPr userDrawn="1"/>
        </p:nvSpPr>
        <p:spPr>
          <a:xfrm>
            <a:off x="0" y="-1"/>
            <a:ext cx="1503373" cy="6858000"/>
          </a:xfrm>
          <a:custGeom>
            <a:avLst/>
            <a:gdLst>
              <a:gd name="connsiteX0" fmla="*/ 627358 w 1503373"/>
              <a:gd name="connsiteY0" fmla="*/ 0 h 6858000"/>
              <a:gd name="connsiteX1" fmla="*/ 1503373 w 1503373"/>
              <a:gd name="connsiteY1" fmla="*/ 0 h 6858000"/>
              <a:gd name="connsiteX2" fmla="*/ 161691 w 1503373"/>
              <a:gd name="connsiteY2" fmla="*/ 6858000 h 6858000"/>
              <a:gd name="connsiteX3" fmla="*/ 0 w 1503373"/>
              <a:gd name="connsiteY3" fmla="*/ 6858000 h 6858000"/>
              <a:gd name="connsiteX4" fmla="*/ 0 w 1503373"/>
              <a:gd name="connsiteY4" fmla="*/ 320673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3373" h="6858000">
                <a:moveTo>
                  <a:pt x="627358" y="0"/>
                </a:moveTo>
                <a:lnTo>
                  <a:pt x="1503373" y="0"/>
                </a:lnTo>
                <a:lnTo>
                  <a:pt x="161691" y="6858000"/>
                </a:lnTo>
                <a:lnTo>
                  <a:pt x="0" y="6858000"/>
                </a:lnTo>
                <a:lnTo>
                  <a:pt x="0" y="3206737"/>
                </a:lnTo>
                <a:close/>
              </a:path>
            </a:pathLst>
          </a:custGeom>
          <a:solidFill>
            <a:srgbClr val="00206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pic>
        <p:nvPicPr>
          <p:cNvPr id="18" name="Picture 17" descr="A jet on the runway&#10;&#10;Description automatically generated">
            <a:extLst>
              <a:ext uri="{FF2B5EF4-FFF2-40B4-BE49-F238E27FC236}">
                <a16:creationId xmlns:a16="http://schemas.microsoft.com/office/drawing/2014/main" id="{2FDB204D-362F-4431-9379-20A62D937DD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641867" y="0"/>
            <a:ext cx="3550135" cy="6858000"/>
          </a:xfrm>
          <a:custGeom>
            <a:avLst/>
            <a:gdLst>
              <a:gd name="connsiteX0" fmla="*/ 1338015 w 3550135"/>
              <a:gd name="connsiteY0" fmla="*/ 0 h 6858000"/>
              <a:gd name="connsiteX1" fmla="*/ 3550135 w 3550135"/>
              <a:gd name="connsiteY1" fmla="*/ 0 h 6858000"/>
              <a:gd name="connsiteX2" fmla="*/ 3550135 w 3550135"/>
              <a:gd name="connsiteY2" fmla="*/ 6858000 h 6858000"/>
              <a:gd name="connsiteX3" fmla="*/ 0 w 355013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50135" h="6858000">
                <a:moveTo>
                  <a:pt x="1338015" y="0"/>
                </a:moveTo>
                <a:lnTo>
                  <a:pt x="3550135" y="0"/>
                </a:lnTo>
                <a:lnTo>
                  <a:pt x="3550135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AAC260E-813E-4933-A9BD-32385C4EF4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92273" y="914400"/>
            <a:ext cx="6510327" cy="664797"/>
          </a:xfrm>
        </p:spPr>
        <p:txBody>
          <a:bodyPr vert="horz">
            <a:noAutofit/>
          </a:bodyPr>
          <a:lstStyle>
            <a:lvl1pPr>
              <a:defRPr sz="28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200559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shes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EC46368-07B6-4292-9919-DC0C5FF1DB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61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C46368-07B6-4292-9919-DC0C5FF1DB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913E0C66-A4AB-4714-AA8F-AEAFFCA1EFD7}"/>
              </a:ext>
            </a:extLst>
          </p:cNvPr>
          <p:cNvSpPr/>
          <p:nvPr userDrawn="1"/>
        </p:nvSpPr>
        <p:spPr>
          <a:xfrm flipV="1">
            <a:off x="6931584" y="5867400"/>
            <a:ext cx="1120598" cy="990600"/>
          </a:xfrm>
          <a:prstGeom prst="triangle">
            <a:avLst/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672BBDA5-F3E1-4A61-B7D8-69AA04CE20FA}"/>
              </a:ext>
            </a:extLst>
          </p:cNvPr>
          <p:cNvSpPr/>
          <p:nvPr userDrawn="1"/>
        </p:nvSpPr>
        <p:spPr>
          <a:xfrm>
            <a:off x="943074" y="0"/>
            <a:ext cx="1120598" cy="990600"/>
          </a:xfrm>
          <a:prstGeom prst="triangle">
            <a:avLst/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00961174-A7E3-49AE-9B55-9450D2D97D16}"/>
              </a:ext>
            </a:extLst>
          </p:cNvPr>
          <p:cNvSpPr/>
          <p:nvPr userDrawn="1"/>
        </p:nvSpPr>
        <p:spPr>
          <a:xfrm>
            <a:off x="127000" y="558800"/>
            <a:ext cx="8775700" cy="5713030"/>
          </a:xfrm>
          <a:prstGeom prst="parallelogram">
            <a:avLst>
              <a:gd name="adj" fmla="val 16775"/>
            </a:avLst>
          </a:prstGeom>
          <a:solidFill>
            <a:schemeClr val="bg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FC35CBE6-0516-4ED0-B35D-894AF25CA79A}"/>
              </a:ext>
            </a:extLst>
          </p:cNvPr>
          <p:cNvSpPr/>
          <p:nvPr userDrawn="1"/>
        </p:nvSpPr>
        <p:spPr>
          <a:xfrm>
            <a:off x="7491884" y="0"/>
            <a:ext cx="4700117" cy="6858000"/>
          </a:xfrm>
          <a:custGeom>
            <a:avLst/>
            <a:gdLst>
              <a:gd name="connsiteX0" fmla="*/ 1341682 w 4700117"/>
              <a:gd name="connsiteY0" fmla="*/ 0 h 6858000"/>
              <a:gd name="connsiteX1" fmla="*/ 4700117 w 4700117"/>
              <a:gd name="connsiteY1" fmla="*/ 0 h 6858000"/>
              <a:gd name="connsiteX2" fmla="*/ 4700117 w 4700117"/>
              <a:gd name="connsiteY2" fmla="*/ 6858000 h 6858000"/>
              <a:gd name="connsiteX3" fmla="*/ 0 w 470011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00117" h="6858000">
                <a:moveTo>
                  <a:pt x="1341682" y="0"/>
                </a:moveTo>
                <a:lnTo>
                  <a:pt x="4700117" y="0"/>
                </a:lnTo>
                <a:lnTo>
                  <a:pt x="4700117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206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6248D0E0-4023-4339-8851-9F55B8330086}"/>
              </a:ext>
            </a:extLst>
          </p:cNvPr>
          <p:cNvSpPr/>
          <p:nvPr userDrawn="1"/>
        </p:nvSpPr>
        <p:spPr>
          <a:xfrm>
            <a:off x="8367898" y="-1"/>
            <a:ext cx="3824102" cy="6858000"/>
          </a:xfrm>
          <a:custGeom>
            <a:avLst/>
            <a:gdLst>
              <a:gd name="connsiteX0" fmla="*/ 1341682 w 3824102"/>
              <a:gd name="connsiteY0" fmla="*/ 0 h 6858000"/>
              <a:gd name="connsiteX1" fmla="*/ 3824102 w 3824102"/>
              <a:gd name="connsiteY1" fmla="*/ 0 h 6858000"/>
              <a:gd name="connsiteX2" fmla="*/ 3824102 w 3824102"/>
              <a:gd name="connsiteY2" fmla="*/ 6858000 h 6858000"/>
              <a:gd name="connsiteX3" fmla="*/ 0 w 382410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24102" h="6858000">
                <a:moveTo>
                  <a:pt x="1341682" y="0"/>
                </a:moveTo>
                <a:lnTo>
                  <a:pt x="3824102" y="0"/>
                </a:lnTo>
                <a:lnTo>
                  <a:pt x="382410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74835CE2-E1D6-4103-9DFC-837846CB9313}"/>
              </a:ext>
            </a:extLst>
          </p:cNvPr>
          <p:cNvSpPr/>
          <p:nvPr userDrawn="1"/>
        </p:nvSpPr>
        <p:spPr>
          <a:xfrm>
            <a:off x="0" y="-1"/>
            <a:ext cx="1503373" cy="6858000"/>
          </a:xfrm>
          <a:custGeom>
            <a:avLst/>
            <a:gdLst>
              <a:gd name="connsiteX0" fmla="*/ 627358 w 1503373"/>
              <a:gd name="connsiteY0" fmla="*/ 0 h 6858000"/>
              <a:gd name="connsiteX1" fmla="*/ 1503373 w 1503373"/>
              <a:gd name="connsiteY1" fmla="*/ 0 h 6858000"/>
              <a:gd name="connsiteX2" fmla="*/ 161691 w 1503373"/>
              <a:gd name="connsiteY2" fmla="*/ 6858000 h 6858000"/>
              <a:gd name="connsiteX3" fmla="*/ 0 w 1503373"/>
              <a:gd name="connsiteY3" fmla="*/ 6858000 h 6858000"/>
              <a:gd name="connsiteX4" fmla="*/ 0 w 1503373"/>
              <a:gd name="connsiteY4" fmla="*/ 320673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3373" h="6858000">
                <a:moveTo>
                  <a:pt x="627358" y="0"/>
                </a:moveTo>
                <a:lnTo>
                  <a:pt x="1503373" y="0"/>
                </a:lnTo>
                <a:lnTo>
                  <a:pt x="161691" y="6858000"/>
                </a:lnTo>
                <a:lnTo>
                  <a:pt x="0" y="6858000"/>
                </a:lnTo>
                <a:lnTo>
                  <a:pt x="0" y="3206737"/>
                </a:lnTo>
                <a:close/>
              </a:path>
            </a:pathLst>
          </a:custGeom>
          <a:solidFill>
            <a:srgbClr val="00206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pic>
        <p:nvPicPr>
          <p:cNvPr id="19" name="Picture 18" descr="A submarine in the water&#10;&#10;Description automatically generated">
            <a:extLst>
              <a:ext uri="{FF2B5EF4-FFF2-40B4-BE49-F238E27FC236}">
                <a16:creationId xmlns:a16="http://schemas.microsoft.com/office/drawing/2014/main" id="{F244F300-89FA-4585-A537-EBA553E436A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641867" y="0"/>
            <a:ext cx="3550135" cy="6858000"/>
          </a:xfrm>
          <a:custGeom>
            <a:avLst/>
            <a:gdLst>
              <a:gd name="connsiteX0" fmla="*/ 1338015 w 3550135"/>
              <a:gd name="connsiteY0" fmla="*/ 0 h 6858000"/>
              <a:gd name="connsiteX1" fmla="*/ 3550135 w 3550135"/>
              <a:gd name="connsiteY1" fmla="*/ 0 h 6858000"/>
              <a:gd name="connsiteX2" fmla="*/ 3550135 w 3550135"/>
              <a:gd name="connsiteY2" fmla="*/ 6858000 h 6858000"/>
              <a:gd name="connsiteX3" fmla="*/ 0 w 355013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50135" h="6858000">
                <a:moveTo>
                  <a:pt x="1338015" y="0"/>
                </a:moveTo>
                <a:lnTo>
                  <a:pt x="3550135" y="0"/>
                </a:lnTo>
                <a:lnTo>
                  <a:pt x="3550135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AAC260E-813E-4933-A9BD-32385C4EF4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92273" y="914400"/>
            <a:ext cx="6510327" cy="664797"/>
          </a:xfrm>
        </p:spPr>
        <p:txBody>
          <a:bodyPr vert="horz">
            <a:noAutofit/>
          </a:bodyPr>
          <a:lstStyle>
            <a:lvl1pPr>
              <a:defRPr sz="28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787528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EC46368-07B6-4292-9919-DC0C5FF1DB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85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C46368-07B6-4292-9919-DC0C5FF1DB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A jet on the runway&#10;&#10;Description automatically generated">
            <a:extLst>
              <a:ext uri="{FF2B5EF4-FFF2-40B4-BE49-F238E27FC236}">
                <a16:creationId xmlns:a16="http://schemas.microsoft.com/office/drawing/2014/main" id="{7E5BDA4C-5EA6-4ACF-BDF9-9CCAF434462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096600" y="0"/>
            <a:ext cx="6095400" cy="6857995"/>
          </a:xfrm>
          <a:custGeom>
            <a:avLst/>
            <a:gdLst>
              <a:gd name="connsiteX0" fmla="*/ 5 w 6095400"/>
              <a:gd name="connsiteY0" fmla="*/ 0 h 6857995"/>
              <a:gd name="connsiteX1" fmla="*/ 6095400 w 6095400"/>
              <a:gd name="connsiteY1" fmla="*/ 0 h 6857995"/>
              <a:gd name="connsiteX2" fmla="*/ 6095400 w 6095400"/>
              <a:gd name="connsiteY2" fmla="*/ 6857995 h 6857995"/>
              <a:gd name="connsiteX3" fmla="*/ 3 w 6095400"/>
              <a:gd name="connsiteY3" fmla="*/ 6857995 h 6857995"/>
              <a:gd name="connsiteX4" fmla="*/ 1802252 w 6095400"/>
              <a:gd name="connsiteY4" fmla="*/ 3428997 h 6857995"/>
              <a:gd name="connsiteX5" fmla="*/ 0 w 6095400"/>
              <a:gd name="connsiteY5" fmla="*/ 0 h 6857995"/>
              <a:gd name="connsiteX6" fmla="*/ 1 w 6095400"/>
              <a:gd name="connsiteY6" fmla="*/ 0 h 6857995"/>
              <a:gd name="connsiteX7" fmla="*/ 1 w 6095400"/>
              <a:gd name="connsiteY7" fmla="*/ 6857995 h 6857995"/>
              <a:gd name="connsiteX8" fmla="*/ 0 w 6095400"/>
              <a:gd name="connsiteY8" fmla="*/ 6857995 h 685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095400" h="6857995">
                <a:moveTo>
                  <a:pt x="5" y="0"/>
                </a:moveTo>
                <a:lnTo>
                  <a:pt x="6095400" y="0"/>
                </a:lnTo>
                <a:lnTo>
                  <a:pt x="6095400" y="6857995"/>
                </a:lnTo>
                <a:lnTo>
                  <a:pt x="3" y="6857995"/>
                </a:lnTo>
                <a:lnTo>
                  <a:pt x="1802252" y="3428997"/>
                </a:lnTo>
                <a:close/>
                <a:moveTo>
                  <a:pt x="0" y="0"/>
                </a:moveTo>
                <a:lnTo>
                  <a:pt x="1" y="0"/>
                </a:lnTo>
                <a:lnTo>
                  <a:pt x="1" y="6857995"/>
                </a:lnTo>
                <a:lnTo>
                  <a:pt x="0" y="6857995"/>
                </a:lnTo>
                <a:close/>
              </a:path>
            </a:pathLst>
          </a:cu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47C70ED5-CB54-4346-BD25-FCEB66FD9B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5554900" cy="387798"/>
          </a:xfrm>
        </p:spPr>
        <p:txBody>
          <a:bodyPr vert="horz"/>
          <a:lstStyle>
            <a:lvl1pPr>
              <a:defRPr sz="28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26406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EC46368-07B6-4292-9919-DC0C5FF1DB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09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C46368-07B6-4292-9919-DC0C5FF1DB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17" descr="A submarine in the water&#10;&#10;Description automatically generated">
            <a:extLst>
              <a:ext uri="{FF2B5EF4-FFF2-40B4-BE49-F238E27FC236}">
                <a16:creationId xmlns:a16="http://schemas.microsoft.com/office/drawing/2014/main" id="{0740CA02-49FB-405A-BC09-129C06F4987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096600" y="0"/>
            <a:ext cx="6095400" cy="6857995"/>
          </a:xfrm>
          <a:custGeom>
            <a:avLst/>
            <a:gdLst>
              <a:gd name="connsiteX0" fmla="*/ 5 w 6095400"/>
              <a:gd name="connsiteY0" fmla="*/ 0 h 6857995"/>
              <a:gd name="connsiteX1" fmla="*/ 6095400 w 6095400"/>
              <a:gd name="connsiteY1" fmla="*/ 0 h 6857995"/>
              <a:gd name="connsiteX2" fmla="*/ 6095400 w 6095400"/>
              <a:gd name="connsiteY2" fmla="*/ 6857995 h 6857995"/>
              <a:gd name="connsiteX3" fmla="*/ 3 w 6095400"/>
              <a:gd name="connsiteY3" fmla="*/ 6857995 h 6857995"/>
              <a:gd name="connsiteX4" fmla="*/ 1802252 w 6095400"/>
              <a:gd name="connsiteY4" fmla="*/ 3428997 h 6857995"/>
              <a:gd name="connsiteX5" fmla="*/ 0 w 6095400"/>
              <a:gd name="connsiteY5" fmla="*/ 0 h 6857995"/>
              <a:gd name="connsiteX6" fmla="*/ 1 w 6095400"/>
              <a:gd name="connsiteY6" fmla="*/ 0 h 6857995"/>
              <a:gd name="connsiteX7" fmla="*/ 1 w 6095400"/>
              <a:gd name="connsiteY7" fmla="*/ 6857995 h 6857995"/>
              <a:gd name="connsiteX8" fmla="*/ 0 w 6095400"/>
              <a:gd name="connsiteY8" fmla="*/ 6857995 h 685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095400" h="6857995">
                <a:moveTo>
                  <a:pt x="5" y="0"/>
                </a:moveTo>
                <a:lnTo>
                  <a:pt x="6095400" y="0"/>
                </a:lnTo>
                <a:lnTo>
                  <a:pt x="6095400" y="6857995"/>
                </a:lnTo>
                <a:lnTo>
                  <a:pt x="3" y="6857995"/>
                </a:lnTo>
                <a:lnTo>
                  <a:pt x="1802252" y="3428997"/>
                </a:lnTo>
                <a:close/>
                <a:moveTo>
                  <a:pt x="0" y="0"/>
                </a:moveTo>
                <a:lnTo>
                  <a:pt x="1" y="0"/>
                </a:lnTo>
                <a:lnTo>
                  <a:pt x="1" y="6857995"/>
                </a:lnTo>
                <a:lnTo>
                  <a:pt x="0" y="6857995"/>
                </a:lnTo>
                <a:close/>
              </a:path>
            </a:pathLst>
          </a:custGeom>
        </p:spPr>
      </p:pic>
      <p:sp>
        <p:nvSpPr>
          <p:cNvPr id="20" name="Title 4">
            <a:extLst>
              <a:ext uri="{FF2B5EF4-FFF2-40B4-BE49-F238E27FC236}">
                <a16:creationId xmlns:a16="http://schemas.microsoft.com/office/drawing/2014/main" id="{985CA334-5EDC-431E-9283-C30F3E02CF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5554900" cy="387798"/>
          </a:xfrm>
        </p:spPr>
        <p:txBody>
          <a:bodyPr vert="horz"/>
          <a:lstStyle>
            <a:lvl1pPr>
              <a:defRPr sz="28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835042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ce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EC46368-07B6-4292-9919-DC0C5FF1DB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33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C46368-07B6-4292-9919-DC0C5FF1DB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A group of boats in the water&#10;&#10;Description automatically generated">
            <a:extLst>
              <a:ext uri="{FF2B5EF4-FFF2-40B4-BE49-F238E27FC236}">
                <a16:creationId xmlns:a16="http://schemas.microsoft.com/office/drawing/2014/main" id="{B541E7C2-AD04-4E0F-9073-234B3733236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324600" y="0"/>
            <a:ext cx="5867400" cy="6858000"/>
          </a:xfrm>
          <a:custGeom>
            <a:avLst/>
            <a:gdLst>
              <a:gd name="connsiteX0" fmla="*/ 4143398 w 5867400"/>
              <a:gd name="connsiteY0" fmla="*/ 0 h 6858000"/>
              <a:gd name="connsiteX1" fmla="*/ 5867400 w 5867400"/>
              <a:gd name="connsiteY1" fmla="*/ 0 h 6858000"/>
              <a:gd name="connsiteX2" fmla="*/ 5867400 w 5867400"/>
              <a:gd name="connsiteY2" fmla="*/ 4020185 h 6858000"/>
              <a:gd name="connsiteX3" fmla="*/ 4152877 w 5867400"/>
              <a:gd name="connsiteY3" fmla="*/ 6858000 h 6858000"/>
              <a:gd name="connsiteX4" fmla="*/ 0 w 586740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67400" h="6858000">
                <a:moveTo>
                  <a:pt x="4143398" y="0"/>
                </a:moveTo>
                <a:lnTo>
                  <a:pt x="5867400" y="0"/>
                </a:lnTo>
                <a:lnTo>
                  <a:pt x="5867400" y="4020185"/>
                </a:lnTo>
                <a:lnTo>
                  <a:pt x="4152877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0" name="Title 4">
            <a:extLst>
              <a:ext uri="{FF2B5EF4-FFF2-40B4-BE49-F238E27FC236}">
                <a16:creationId xmlns:a16="http://schemas.microsoft.com/office/drawing/2014/main" id="{5BF4BF14-ED7B-463F-A5EF-5C54749085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755300" cy="387798"/>
          </a:xfrm>
        </p:spPr>
        <p:txBody>
          <a:bodyPr vert="horz"/>
          <a:lstStyle>
            <a:lvl1pPr>
              <a:defRPr sz="28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807376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4231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rcle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EC46368-07B6-4292-9919-DC0C5FF1DB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57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C46368-07B6-4292-9919-DC0C5FF1DB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17" descr="A submarine in the water&#10;&#10;Description automatically generated">
            <a:extLst>
              <a:ext uri="{FF2B5EF4-FFF2-40B4-BE49-F238E27FC236}">
                <a16:creationId xmlns:a16="http://schemas.microsoft.com/office/drawing/2014/main" id="{5EB61DEA-24E8-4679-A8AA-6AAD254BB1C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" y="0"/>
            <a:ext cx="5372097" cy="6858000"/>
          </a:xfrm>
          <a:custGeom>
            <a:avLst/>
            <a:gdLst>
              <a:gd name="connsiteX0" fmla="*/ 0 w 5372097"/>
              <a:gd name="connsiteY0" fmla="*/ 0 h 6858000"/>
              <a:gd name="connsiteX1" fmla="*/ 446343 w 5372097"/>
              <a:gd name="connsiteY1" fmla="*/ 0 h 6858000"/>
              <a:gd name="connsiteX2" fmla="*/ 1517320 w 5372097"/>
              <a:gd name="connsiteY2" fmla="*/ 0 h 6858000"/>
              <a:gd name="connsiteX3" fmla="*/ 5372097 w 5372097"/>
              <a:gd name="connsiteY3" fmla="*/ 0 h 6858000"/>
              <a:gd name="connsiteX4" fmla="*/ 5372097 w 5372097"/>
              <a:gd name="connsiteY4" fmla="*/ 5787 h 6858000"/>
              <a:gd name="connsiteX5" fmla="*/ 5278311 w 5372097"/>
              <a:gd name="connsiteY5" fmla="*/ 87027 h 6858000"/>
              <a:gd name="connsiteX6" fmla="*/ 3799144 w 5372097"/>
              <a:gd name="connsiteY6" fmla="*/ 3429000 h 6858000"/>
              <a:gd name="connsiteX7" fmla="*/ 5278311 w 5372097"/>
              <a:gd name="connsiteY7" fmla="*/ 6770974 h 6858000"/>
              <a:gd name="connsiteX8" fmla="*/ 5372097 w 5372097"/>
              <a:gd name="connsiteY8" fmla="*/ 6852214 h 6858000"/>
              <a:gd name="connsiteX9" fmla="*/ 5372097 w 5372097"/>
              <a:gd name="connsiteY9" fmla="*/ 6858000 h 6858000"/>
              <a:gd name="connsiteX10" fmla="*/ 1517320 w 5372097"/>
              <a:gd name="connsiteY10" fmla="*/ 6858000 h 6858000"/>
              <a:gd name="connsiteX11" fmla="*/ 446343 w 5372097"/>
              <a:gd name="connsiteY11" fmla="*/ 6858000 h 6858000"/>
              <a:gd name="connsiteX12" fmla="*/ 0 w 5372097"/>
              <a:gd name="connsiteY1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372097" h="6858000">
                <a:moveTo>
                  <a:pt x="0" y="0"/>
                </a:moveTo>
                <a:lnTo>
                  <a:pt x="446343" y="0"/>
                </a:lnTo>
                <a:lnTo>
                  <a:pt x="1517320" y="0"/>
                </a:lnTo>
                <a:lnTo>
                  <a:pt x="5372097" y="0"/>
                </a:lnTo>
                <a:lnTo>
                  <a:pt x="5372097" y="5787"/>
                </a:lnTo>
                <a:lnTo>
                  <a:pt x="5278311" y="87027"/>
                </a:lnTo>
                <a:cubicBezTo>
                  <a:pt x="4369628" y="912918"/>
                  <a:pt x="3799144" y="2104337"/>
                  <a:pt x="3799144" y="3429000"/>
                </a:cubicBezTo>
                <a:cubicBezTo>
                  <a:pt x="3799144" y="4753663"/>
                  <a:pt x="4369628" y="5945082"/>
                  <a:pt x="5278311" y="6770974"/>
                </a:cubicBezTo>
                <a:lnTo>
                  <a:pt x="5372097" y="6852214"/>
                </a:lnTo>
                <a:lnTo>
                  <a:pt x="5372097" y="6858000"/>
                </a:lnTo>
                <a:lnTo>
                  <a:pt x="1517320" y="6858000"/>
                </a:lnTo>
                <a:lnTo>
                  <a:pt x="44634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6E6E6"/>
          </a:solidFill>
        </p:spPr>
      </p:pic>
      <p:sp>
        <p:nvSpPr>
          <p:cNvPr id="20" name="Title 4">
            <a:extLst>
              <a:ext uri="{FF2B5EF4-FFF2-40B4-BE49-F238E27FC236}">
                <a16:creationId xmlns:a16="http://schemas.microsoft.com/office/drawing/2014/main" id="{AC30ECCD-559E-4B4A-AAFA-43D9796A02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8900" y="622800"/>
            <a:ext cx="6394449" cy="387798"/>
          </a:xfrm>
        </p:spPr>
        <p:txBody>
          <a:bodyPr vert="horz"/>
          <a:lstStyle>
            <a:lvl1pPr>
              <a:defRPr sz="28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981957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1808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CC7401F-4058-4F8F-A069-1174F611DE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87721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6372C936-331C-4E91-B4C2-B2EF3CA9B6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989354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EF56FD0-B795-4894-96B2-F6CC89284A22}"/>
              </a:ext>
            </a:extLst>
          </p:cNvPr>
          <p:cNvSpPr/>
          <p:nvPr userDrawn="1"/>
        </p:nvSpPr>
        <p:spPr>
          <a:xfrm>
            <a:off x="3933172" y="0"/>
            <a:ext cx="146335" cy="6858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5917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25A2869-F750-4C71-A0C2-19B44CC33F80}"/>
              </a:ext>
            </a:extLst>
          </p:cNvPr>
          <p:cNvSpPr/>
          <p:nvPr userDrawn="1"/>
        </p:nvSpPr>
        <p:spPr>
          <a:xfrm>
            <a:off x="7025621" y="0"/>
            <a:ext cx="146335" cy="6858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3770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AF8C894-FEF6-4806-96A1-F119CE4DEE9C}"/>
              </a:ext>
            </a:extLst>
          </p:cNvPr>
          <p:cNvSpPr/>
          <p:nvPr userDrawn="1"/>
        </p:nvSpPr>
        <p:spPr>
          <a:xfrm>
            <a:off x="4080763" y="0"/>
            <a:ext cx="146335" cy="6858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03C8AD0-99E3-4A27-A86E-5737264EEA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699753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238356" y="0"/>
            <a:ext cx="5953642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1D268EC-1C83-4C97-95AC-9609A6CD9C33}"/>
              </a:ext>
            </a:extLst>
          </p:cNvPr>
          <p:cNvSpPr/>
          <p:nvPr userDrawn="1"/>
        </p:nvSpPr>
        <p:spPr>
          <a:xfrm>
            <a:off x="6092021" y="0"/>
            <a:ext cx="146335" cy="6858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8AE17EA-00A5-4522-8ACE-161D62BB8B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154767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966360" y="0"/>
            <a:ext cx="422564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84B75C0-0610-46A3-A307-B72053F56232}"/>
              </a:ext>
            </a:extLst>
          </p:cNvPr>
          <p:cNvSpPr/>
          <p:nvPr userDrawn="1"/>
        </p:nvSpPr>
        <p:spPr>
          <a:xfrm>
            <a:off x="7820025" y="0"/>
            <a:ext cx="146335" cy="6858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F13537D-016F-4E66-9CC9-7A33FADD0A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952454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1CCB5F3-9D53-43A8-95E5-3C54BACCCD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81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CCB5F3-9D53-43A8-95E5-3C54BACCCD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reeform 14">
            <a:extLst>
              <a:ext uri="{FF2B5EF4-FFF2-40B4-BE49-F238E27FC236}">
                <a16:creationId xmlns:a16="http://schemas.microsoft.com/office/drawing/2014/main" id="{63C5C522-BC54-4A94-A3E1-B1DCAEB1D1EC}"/>
              </a:ext>
            </a:extLst>
          </p:cNvPr>
          <p:cNvSpPr/>
          <p:nvPr userDrawn="1"/>
        </p:nvSpPr>
        <p:spPr bwMode="ltGray">
          <a:xfrm>
            <a:off x="1539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55765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SS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5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3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-1" y="-1"/>
            <a:ext cx="12194381" cy="1463041"/>
            <a:chOff x="-1" y="-1"/>
            <a:chExt cx="12194381" cy="1463041"/>
          </a:xfrm>
        </p:grpSpPr>
        <p:pic>
          <p:nvPicPr>
            <p:cNvPr id="18" name="Picture 17"/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2859880" y="0"/>
              <a:ext cx="9334500" cy="1463040"/>
            </a:xfrm>
            <a:prstGeom prst="rect">
              <a:avLst/>
            </a:prstGeom>
          </p:spPr>
        </p:pic>
        <p:grpSp>
          <p:nvGrpSpPr>
            <p:cNvPr id="16" name="Group 15"/>
            <p:cNvGrpSpPr/>
            <p:nvPr userDrawn="1"/>
          </p:nvGrpSpPr>
          <p:grpSpPr>
            <a:xfrm>
              <a:off x="-1" y="-1"/>
              <a:ext cx="2871979" cy="1462161"/>
              <a:chOff x="-1" y="-1"/>
              <a:chExt cx="2871979" cy="1462161"/>
            </a:xfrm>
          </p:grpSpPr>
          <p:cxnSp>
            <p:nvCxnSpPr>
              <p:cNvPr id="14" name="Straight Connector 13"/>
              <p:cNvCxnSpPr/>
              <p:nvPr userDrawn="1"/>
            </p:nvCxnSpPr>
            <p:spPr>
              <a:xfrm flipH="1">
                <a:off x="0" y="1235869"/>
                <a:ext cx="457200" cy="0"/>
              </a:xfrm>
              <a:prstGeom prst="line">
                <a:avLst/>
              </a:prstGeom>
              <a:ln w="9525" cap="rnd" cmpd="sng" algn="ctr">
                <a:solidFill>
                  <a:srgbClr val="00206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" name="Rectangle 6"/>
              <p:cNvSpPr/>
              <p:nvPr userDrawn="1"/>
            </p:nvSpPr>
            <p:spPr>
              <a:xfrm>
                <a:off x="-1" y="-1"/>
                <a:ext cx="457200" cy="1194297"/>
              </a:xfrm>
              <a:prstGeom prst="rect">
                <a:avLst/>
              </a:prstGeom>
              <a:solidFill>
                <a:srgbClr val="E0E1E0"/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>
                  <a:solidFill>
                    <a:srgbClr val="FFFFFF"/>
                  </a:solidFill>
                </a:endParaRPr>
              </a:p>
            </p:txBody>
          </p:sp>
          <p:pic>
            <p:nvPicPr>
              <p:cNvPr id="13" name="Picture 12"/>
              <p:cNvPicPr>
                <a:picLocks noChangeAspect="1"/>
              </p:cNvPicPr>
              <p:nvPr userDrawn="1"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277"/>
              <a:stretch>
                <a:fillRect/>
              </a:stretch>
            </p:blipFill>
            <p:spPr>
              <a:xfrm>
                <a:off x="330009" y="0"/>
                <a:ext cx="2541969" cy="1462160"/>
              </a:xfrm>
              <a:custGeom>
                <a:avLst/>
                <a:gdLst>
                  <a:gd name="connsiteX0" fmla="*/ 0 w 3649041"/>
                  <a:gd name="connsiteY0" fmla="*/ 0 h 2098956"/>
                  <a:gd name="connsiteX1" fmla="*/ 3649041 w 3649041"/>
                  <a:gd name="connsiteY1" fmla="*/ 0 h 2098956"/>
                  <a:gd name="connsiteX2" fmla="*/ 3649041 w 3649041"/>
                  <a:gd name="connsiteY2" fmla="*/ 2098956 h 2098956"/>
                  <a:gd name="connsiteX3" fmla="*/ 0 w 3649041"/>
                  <a:gd name="connsiteY3" fmla="*/ 2098956 h 2098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49041" h="2098956">
                    <a:moveTo>
                      <a:pt x="0" y="0"/>
                    </a:moveTo>
                    <a:lnTo>
                      <a:pt x="3649041" y="0"/>
                    </a:lnTo>
                    <a:lnTo>
                      <a:pt x="3649041" y="2098956"/>
                    </a:lnTo>
                    <a:lnTo>
                      <a:pt x="0" y="2098956"/>
                    </a:lnTo>
                    <a:close/>
                  </a:path>
                </a:pathLst>
              </a:custGeom>
            </p:spPr>
          </p:pic>
        </p:grpSp>
      </p:grpSp>
      <p:sp>
        <p:nvSpPr>
          <p:cNvPr id="10" name="Date Placeholder 56"/>
          <p:cNvSpPr>
            <a:spLocks noGrp="1"/>
          </p:cNvSpPr>
          <p:nvPr>
            <p:ph type="dt" sz="half" idx="14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Title 7"/>
          <p:cNvSpPr>
            <a:spLocks noGrp="1"/>
          </p:cNvSpPr>
          <p:nvPr>
            <p:ph type="title" hasCustomPrompt="1"/>
          </p:nvPr>
        </p:nvSpPr>
        <p:spPr>
          <a:xfrm>
            <a:off x="3328986" y="723399"/>
            <a:ext cx="8459798" cy="470898"/>
          </a:xfrm>
        </p:spPr>
        <p:txBody>
          <a:bodyPr anchor="b"/>
          <a:lstStyle>
            <a:lvl1pPr>
              <a:defRPr sz="3400"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90108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75760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93859C3-75CF-4A8C-AC61-D96596CCD2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05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3859C3-75CF-4A8C-AC61-D96596CCD2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>
            <a:extLst>
              <a:ext uri="{FF2B5EF4-FFF2-40B4-BE49-F238E27FC236}">
                <a16:creationId xmlns:a16="http://schemas.microsoft.com/office/drawing/2014/main" id="{9A903735-A36F-4200-A9C3-E366FEE9C602}"/>
              </a:ext>
            </a:extLst>
          </p:cNvPr>
          <p:cNvSpPr/>
          <p:nvPr userDrawn="1"/>
        </p:nvSpPr>
        <p:spPr bwMode="ltGray">
          <a:xfrm>
            <a:off x="1539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C24E8FE-DF74-4D07-A05D-1FBA4EA228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562086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9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entagon 3">
            <a:extLst>
              <a:ext uri="{FF2B5EF4-FFF2-40B4-BE49-F238E27FC236}">
                <a16:creationId xmlns:a16="http://schemas.microsoft.com/office/drawing/2014/main" id="{ABC09DB5-D40C-4B55-A396-E8FEA57A2B1B}"/>
              </a:ext>
            </a:extLst>
          </p:cNvPr>
          <p:cNvSpPr/>
          <p:nvPr userDrawn="1"/>
        </p:nvSpPr>
        <p:spPr bwMode="white">
          <a:xfrm>
            <a:off x="15240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6547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56CFA9C-9CF7-4C62-BA2E-7B7642DFD6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53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6CFA9C-9CF7-4C62-BA2E-7B7642DFD6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entagon 3">
            <a:extLst>
              <a:ext uri="{FF2B5EF4-FFF2-40B4-BE49-F238E27FC236}">
                <a16:creationId xmlns:a16="http://schemas.microsoft.com/office/drawing/2014/main" id="{4FBB4119-E7AC-4BF0-BED9-FC1BA7F433A3}"/>
              </a:ext>
            </a:extLst>
          </p:cNvPr>
          <p:cNvSpPr/>
          <p:nvPr userDrawn="1"/>
        </p:nvSpPr>
        <p:spPr bwMode="white">
          <a:xfrm>
            <a:off x="15240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DCD0947-ECD5-41D5-A9A7-0B9DAF2F52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70857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734DFB9-752F-43AB-AEA7-166D7C5737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77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34DFB9-752F-43AB-AEA7-166D7C5737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entagon 8">
            <a:extLst>
              <a:ext uri="{FF2B5EF4-FFF2-40B4-BE49-F238E27FC236}">
                <a16:creationId xmlns:a16="http://schemas.microsoft.com/office/drawing/2014/main" id="{923426FA-B0BD-4BEA-AC60-8708745552AC}"/>
              </a:ext>
            </a:extLst>
          </p:cNvPr>
          <p:cNvSpPr/>
          <p:nvPr userDrawn="1"/>
        </p:nvSpPr>
        <p:spPr bwMode="white">
          <a:xfrm>
            <a:off x="15240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87215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20FA45D-B032-4C8B-9D8B-85674CA24D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01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0FA45D-B032-4C8B-9D8B-85674CA24D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entagon 8">
            <a:extLst>
              <a:ext uri="{FF2B5EF4-FFF2-40B4-BE49-F238E27FC236}">
                <a16:creationId xmlns:a16="http://schemas.microsoft.com/office/drawing/2014/main" id="{7039684E-53DF-4126-B736-84B73F73426A}"/>
              </a:ext>
            </a:extLst>
          </p:cNvPr>
          <p:cNvSpPr/>
          <p:nvPr userDrawn="1"/>
        </p:nvSpPr>
        <p:spPr bwMode="white">
          <a:xfrm>
            <a:off x="15240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CF2995C-2AFD-4104-ACC9-2379C0459B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95068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75DE940-2C1B-44FB-A247-8271EA6A2E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25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5DE940-2C1B-44FB-A247-8271EA6A2E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8">
            <a:extLst>
              <a:ext uri="{FF2B5EF4-FFF2-40B4-BE49-F238E27FC236}">
                <a16:creationId xmlns:a16="http://schemas.microsoft.com/office/drawing/2014/main" id="{70E8474E-D7BD-41CE-B602-7E55BCDB9F4C}"/>
              </a:ext>
            </a:extLst>
          </p:cNvPr>
          <p:cNvSpPr/>
          <p:nvPr userDrawn="1"/>
        </p:nvSpPr>
        <p:spPr bwMode="white">
          <a:xfrm>
            <a:off x="15240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86742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17A4FA-7303-47E1-A27B-B590DF071D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49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17A4FA-7303-47E1-A27B-B590DF071D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8">
            <a:extLst>
              <a:ext uri="{FF2B5EF4-FFF2-40B4-BE49-F238E27FC236}">
                <a16:creationId xmlns:a16="http://schemas.microsoft.com/office/drawing/2014/main" id="{DB4AD4F7-CD0F-41E0-8348-4BECE621FC80}"/>
              </a:ext>
            </a:extLst>
          </p:cNvPr>
          <p:cNvSpPr/>
          <p:nvPr userDrawn="1"/>
        </p:nvSpPr>
        <p:spPr bwMode="white">
          <a:xfrm>
            <a:off x="15240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B18AC3B-A3A5-4F48-9C3C-6A4834D5C3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32150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D6C4320-7DDE-4808-807B-7A3290EA1C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873498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619694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73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11" b="-40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7C7961A-7105-4805-B2B5-32E6602ED2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060284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49369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78038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4540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611E8F1-3F58-4B19-AF36-36FC3D3EDC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041183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97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A submarine in the water&#10;&#10;Description automatically generated">
            <a:extLst>
              <a:ext uri="{FF2B5EF4-FFF2-40B4-BE49-F238E27FC236}">
                <a16:creationId xmlns:a16="http://schemas.microsoft.com/office/drawing/2014/main" id="{B106B717-D47A-4A4A-A7B8-263F4CD403A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470151" y="0"/>
            <a:ext cx="8296275" cy="6858000"/>
          </a:xfrm>
          <a:custGeom>
            <a:avLst/>
            <a:gdLst>
              <a:gd name="connsiteX0" fmla="*/ 4143399 w 8296275"/>
              <a:gd name="connsiteY0" fmla="*/ 0 h 6858000"/>
              <a:gd name="connsiteX1" fmla="*/ 8296275 w 8296275"/>
              <a:gd name="connsiteY1" fmla="*/ 0 h 6858000"/>
              <a:gd name="connsiteX2" fmla="*/ 4152877 w 8296275"/>
              <a:gd name="connsiteY2" fmla="*/ 6858000 h 6858000"/>
              <a:gd name="connsiteX3" fmla="*/ 0 w 829627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96275" h="6858000">
                <a:moveTo>
                  <a:pt x="4143399" y="0"/>
                </a:moveTo>
                <a:lnTo>
                  <a:pt x="8296275" y="0"/>
                </a:lnTo>
                <a:lnTo>
                  <a:pt x="4152877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11" name="Picture 10" descr="A group of boats in the water&#10;&#10;Description automatically generated">
            <a:extLst>
              <a:ext uri="{FF2B5EF4-FFF2-40B4-BE49-F238E27FC236}">
                <a16:creationId xmlns:a16="http://schemas.microsoft.com/office/drawing/2014/main" id="{B8033BA3-B3E1-482F-834F-75C6664BC04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756400" y="0"/>
            <a:ext cx="5435600" cy="6858000"/>
          </a:xfrm>
          <a:custGeom>
            <a:avLst/>
            <a:gdLst>
              <a:gd name="connsiteX0" fmla="*/ 4143398 w 5435600"/>
              <a:gd name="connsiteY0" fmla="*/ 0 h 6858000"/>
              <a:gd name="connsiteX1" fmla="*/ 5435600 w 5435600"/>
              <a:gd name="connsiteY1" fmla="*/ 0 h 6858000"/>
              <a:gd name="connsiteX2" fmla="*/ 5435600 w 5435600"/>
              <a:gd name="connsiteY2" fmla="*/ 4734885 h 6858000"/>
              <a:gd name="connsiteX3" fmla="*/ 4152877 w 5435600"/>
              <a:gd name="connsiteY3" fmla="*/ 6858000 h 6858000"/>
              <a:gd name="connsiteX4" fmla="*/ 0 w 543560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35600" h="6858000">
                <a:moveTo>
                  <a:pt x="4143398" y="0"/>
                </a:moveTo>
                <a:lnTo>
                  <a:pt x="5435600" y="0"/>
                </a:lnTo>
                <a:lnTo>
                  <a:pt x="5435600" y="4734885"/>
                </a:lnTo>
                <a:lnTo>
                  <a:pt x="4152877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CF425B38-13D0-4FBF-8800-F67841ACA5D2}"/>
              </a:ext>
            </a:extLst>
          </p:cNvPr>
          <p:cNvSpPr/>
          <p:nvPr userDrawn="1"/>
        </p:nvSpPr>
        <p:spPr>
          <a:xfrm flipH="1">
            <a:off x="11042650" y="4940109"/>
            <a:ext cx="1149350" cy="1917892"/>
          </a:xfrm>
          <a:custGeom>
            <a:avLst/>
            <a:gdLst>
              <a:gd name="connsiteX0" fmla="*/ 0 w 1149350"/>
              <a:gd name="connsiteY0" fmla="*/ 0 h 1917892"/>
              <a:gd name="connsiteX1" fmla="*/ 0 w 1149350"/>
              <a:gd name="connsiteY1" fmla="*/ 1917892 h 1917892"/>
              <a:gd name="connsiteX2" fmla="*/ 1149350 w 1149350"/>
              <a:gd name="connsiteY2" fmla="*/ 1917892 h 1917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49350" h="1917892">
                <a:moveTo>
                  <a:pt x="0" y="0"/>
                </a:moveTo>
                <a:lnTo>
                  <a:pt x="0" y="1917892"/>
                </a:lnTo>
                <a:lnTo>
                  <a:pt x="1149350" y="1917892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939D5204-2FF7-441D-AFCB-4832874B756C}"/>
              </a:ext>
            </a:extLst>
          </p:cNvPr>
          <p:cNvSpPr/>
          <p:nvPr userDrawn="1"/>
        </p:nvSpPr>
        <p:spPr>
          <a:xfrm rot="18065892">
            <a:off x="219788" y="3308763"/>
            <a:ext cx="8154085" cy="240475"/>
          </a:xfrm>
          <a:custGeom>
            <a:avLst/>
            <a:gdLst>
              <a:gd name="connsiteX0" fmla="*/ 8075701 w 8154085"/>
              <a:gd name="connsiteY0" fmla="*/ 110526 h 240475"/>
              <a:gd name="connsiteX1" fmla="*/ 8154085 w 8154085"/>
              <a:gd name="connsiteY1" fmla="*/ 240475 h 240475"/>
              <a:gd name="connsiteX2" fmla="*/ 460570 w 8154085"/>
              <a:gd name="connsiteY2" fmla="*/ 240475 h 240475"/>
              <a:gd name="connsiteX3" fmla="*/ 460570 w 8154085"/>
              <a:gd name="connsiteY3" fmla="*/ 236024 h 240475"/>
              <a:gd name="connsiteX4" fmla="*/ 142369 w 8154085"/>
              <a:gd name="connsiteY4" fmla="*/ 236024 h 240475"/>
              <a:gd name="connsiteX5" fmla="*/ 0 w 8154085"/>
              <a:gd name="connsiteY5" fmla="*/ 0 h 240475"/>
              <a:gd name="connsiteX6" fmla="*/ 2860898 w 8154085"/>
              <a:gd name="connsiteY6" fmla="*/ 0 h 240475"/>
              <a:gd name="connsiteX7" fmla="*/ 2971423 w 8154085"/>
              <a:gd name="connsiteY7" fmla="*/ 110526 h 240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154085" h="240475">
                <a:moveTo>
                  <a:pt x="8075701" y="110526"/>
                </a:moveTo>
                <a:lnTo>
                  <a:pt x="8154085" y="240475"/>
                </a:lnTo>
                <a:lnTo>
                  <a:pt x="460570" y="240475"/>
                </a:lnTo>
                <a:lnTo>
                  <a:pt x="460570" y="236024"/>
                </a:lnTo>
                <a:lnTo>
                  <a:pt x="142369" y="236024"/>
                </a:lnTo>
                <a:lnTo>
                  <a:pt x="0" y="0"/>
                </a:lnTo>
                <a:lnTo>
                  <a:pt x="2860898" y="0"/>
                </a:lnTo>
                <a:lnTo>
                  <a:pt x="2971423" y="110526"/>
                </a:lnTo>
                <a:close/>
              </a:path>
            </a:pathLst>
          </a:cu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33467D31-1095-4AB9-9898-BC92F7CE9D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52629" y="5523251"/>
            <a:ext cx="2656609" cy="1149494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494D191-20E1-4706-B9D4-C3D586DC94E6}"/>
              </a:ext>
            </a:extLst>
          </p:cNvPr>
          <p:cNvSpPr txBox="1"/>
          <p:nvPr userDrawn="1"/>
        </p:nvSpPr>
        <p:spPr>
          <a:xfrm>
            <a:off x="629999" y="1033251"/>
            <a:ext cx="4262040" cy="9144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vert="horz" wrap="square" lIns="0" tIns="0" rIns="0" bIns="0" rtlCol="0" anchor="b">
            <a:noAutofit/>
          </a:bodyPr>
          <a:lstStyle>
            <a:lvl1pPr>
              <a:lnSpc>
                <a:spcPct val="93000"/>
              </a:lnSpc>
              <a:spcBef>
                <a:spcPct val="0"/>
              </a:spcBef>
              <a:buNone/>
              <a:defRPr sz="44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808149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5671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64E57D4-EB1B-4341-A28C-995F3CF07F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21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4E57D4-EB1B-4341-A28C-995F3CF07F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2686050" y="663141"/>
            <a:ext cx="8877300" cy="387798"/>
          </a:xfrm>
        </p:spPr>
        <p:txBody>
          <a:bodyPr vert="horz" anchor="ctr"/>
          <a:lstStyle>
            <a:lvl1pPr>
              <a:defRPr sz="2800"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18EA3FF-4774-41C2-9794-9F8088714AC1}"/>
              </a:ext>
            </a:extLst>
          </p:cNvPr>
          <p:cNvGrpSpPr/>
          <p:nvPr userDrawn="1"/>
        </p:nvGrpSpPr>
        <p:grpSpPr>
          <a:xfrm>
            <a:off x="423198" y="-2418"/>
            <a:ext cx="1993900" cy="1718915"/>
            <a:chOff x="423198" y="-2418"/>
            <a:chExt cx="1993900" cy="1718915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1F03FDE-0993-4AD6-B378-82EF0BA8E875}"/>
                </a:ext>
              </a:extLst>
            </p:cNvPr>
            <p:cNvSpPr/>
            <p:nvPr/>
          </p:nvSpPr>
          <p:spPr>
            <a:xfrm>
              <a:off x="629399" y="-2418"/>
              <a:ext cx="1581497" cy="1718915"/>
            </a:xfrm>
            <a:prstGeom prst="rect">
              <a:avLst/>
            </a:prstGeom>
            <a:solidFill>
              <a:srgbClr val="3599DB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0AF5C3F-5117-4A93-A790-D78316180FE1}"/>
                </a:ext>
              </a:extLst>
            </p:cNvPr>
            <p:cNvSpPr/>
            <p:nvPr/>
          </p:nvSpPr>
          <p:spPr>
            <a:xfrm>
              <a:off x="423198" y="188777"/>
              <a:ext cx="1993900" cy="1338943"/>
            </a:xfrm>
            <a:prstGeom prst="rect">
              <a:avLst/>
            </a:prstGeom>
            <a:solidFill>
              <a:schemeClr val="tx2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88866C24-07FA-4E7C-8887-808BD6920E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clrChange>
                <a:clrFrom>
                  <a:srgbClr val="12284B"/>
                </a:clrFrom>
                <a:clrTo>
                  <a:srgbClr val="12284B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6578" y="480263"/>
              <a:ext cx="1747140" cy="755972"/>
            </a:xfrm>
            <a:custGeom>
              <a:avLst/>
              <a:gdLst>
                <a:gd name="connsiteX0" fmla="*/ 0 w 3649041"/>
                <a:gd name="connsiteY0" fmla="*/ 0 h 2098956"/>
                <a:gd name="connsiteX1" fmla="*/ 3649041 w 3649041"/>
                <a:gd name="connsiteY1" fmla="*/ 0 h 2098956"/>
                <a:gd name="connsiteX2" fmla="*/ 3649041 w 3649041"/>
                <a:gd name="connsiteY2" fmla="*/ 2098956 h 2098956"/>
                <a:gd name="connsiteX3" fmla="*/ 0 w 3649041"/>
                <a:gd name="connsiteY3" fmla="*/ 2098956 h 2098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49041" h="2098956">
                  <a:moveTo>
                    <a:pt x="0" y="0"/>
                  </a:moveTo>
                  <a:lnTo>
                    <a:pt x="3649041" y="0"/>
                  </a:lnTo>
                  <a:lnTo>
                    <a:pt x="3649041" y="2098956"/>
                  </a:lnTo>
                  <a:lnTo>
                    <a:pt x="0" y="2098956"/>
                  </a:lnTo>
                  <a:close/>
                </a:path>
              </a:pathLst>
            </a:custGeom>
          </p:spPr>
        </p:pic>
      </p:grpSp>
    </p:spTree>
    <p:extLst>
      <p:ext uri="{BB962C8B-B14F-4D97-AF65-F5344CB8AC3E}">
        <p14:creationId xmlns:p14="http://schemas.microsoft.com/office/powerpoint/2010/main" val="111954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740310F-9AC8-408A-AC70-F21D1809E8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45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40310F-9AC8-408A-AC70-F21D1809E8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7">
            <a:extLst>
              <a:ext uri="{FF2B5EF4-FFF2-40B4-BE49-F238E27FC236}">
                <a16:creationId xmlns:a16="http://schemas.microsoft.com/office/drawing/2014/main" id="{F6BF07A0-74DD-4CCC-BEEC-9D54C97F06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6050" y="663141"/>
            <a:ext cx="8877300" cy="387798"/>
          </a:xfrm>
        </p:spPr>
        <p:txBody>
          <a:bodyPr vert="horz" anchor="ctr"/>
          <a:lstStyle>
            <a:lvl1pPr>
              <a:defRPr sz="2800"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0627AE64-7907-46CE-A886-FA3E1DAA78B3}"/>
              </a:ext>
            </a:extLst>
          </p:cNvPr>
          <p:cNvGrpSpPr/>
          <p:nvPr userDrawn="1"/>
        </p:nvGrpSpPr>
        <p:grpSpPr>
          <a:xfrm>
            <a:off x="423198" y="-2418"/>
            <a:ext cx="1993900" cy="1718915"/>
            <a:chOff x="423198" y="-2418"/>
            <a:chExt cx="1993900" cy="1718915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BBF2489-2476-42A7-BAA6-35D9F35FAC3C}"/>
                </a:ext>
              </a:extLst>
            </p:cNvPr>
            <p:cNvSpPr/>
            <p:nvPr/>
          </p:nvSpPr>
          <p:spPr>
            <a:xfrm>
              <a:off x="629399" y="-2418"/>
              <a:ext cx="1581497" cy="1718915"/>
            </a:xfrm>
            <a:prstGeom prst="rect">
              <a:avLst/>
            </a:prstGeom>
            <a:solidFill>
              <a:srgbClr val="3599DB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69ADB2D4-2BC3-4442-B519-D4A3F61A5066}"/>
                </a:ext>
              </a:extLst>
            </p:cNvPr>
            <p:cNvSpPr/>
            <p:nvPr/>
          </p:nvSpPr>
          <p:spPr>
            <a:xfrm>
              <a:off x="423198" y="188777"/>
              <a:ext cx="1993900" cy="1338943"/>
            </a:xfrm>
            <a:prstGeom prst="rect">
              <a:avLst/>
            </a:prstGeom>
            <a:solidFill>
              <a:schemeClr val="tx2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F6902FAA-C33F-4142-8991-848BFFF87C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clrChange>
                <a:clrFrom>
                  <a:srgbClr val="12284B"/>
                </a:clrFrom>
                <a:clrTo>
                  <a:srgbClr val="12284B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6578" y="480263"/>
              <a:ext cx="1747140" cy="755972"/>
            </a:xfrm>
            <a:custGeom>
              <a:avLst/>
              <a:gdLst>
                <a:gd name="connsiteX0" fmla="*/ 0 w 3649041"/>
                <a:gd name="connsiteY0" fmla="*/ 0 h 2098956"/>
                <a:gd name="connsiteX1" fmla="*/ 3649041 w 3649041"/>
                <a:gd name="connsiteY1" fmla="*/ 0 h 2098956"/>
                <a:gd name="connsiteX2" fmla="*/ 3649041 w 3649041"/>
                <a:gd name="connsiteY2" fmla="*/ 2098956 h 2098956"/>
                <a:gd name="connsiteX3" fmla="*/ 0 w 3649041"/>
                <a:gd name="connsiteY3" fmla="*/ 2098956 h 2098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49041" h="2098956">
                  <a:moveTo>
                    <a:pt x="0" y="0"/>
                  </a:moveTo>
                  <a:lnTo>
                    <a:pt x="3649041" y="0"/>
                  </a:lnTo>
                  <a:lnTo>
                    <a:pt x="3649041" y="2098956"/>
                  </a:lnTo>
                  <a:lnTo>
                    <a:pt x="0" y="2098956"/>
                  </a:lnTo>
                  <a:close/>
                </a:path>
              </a:pathLst>
            </a:custGeom>
          </p:spPr>
        </p:pic>
      </p:grpSp>
    </p:spTree>
    <p:extLst>
      <p:ext uri="{BB962C8B-B14F-4D97-AF65-F5344CB8AC3E}">
        <p14:creationId xmlns:p14="http://schemas.microsoft.com/office/powerpoint/2010/main" val="2171001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5895B04-5685-41A6-8D29-D3D89DBC87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9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895B04-5685-41A6-8D29-D3D89DBC87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vert="horz" anchor="t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63187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0896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0944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971751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8C08D19-B5DC-4622-A61F-6DAA97E82D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93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C08D19-B5DC-4622-A61F-6DAA97E82D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21BADB7-38C1-479F-BC39-E11178CE4F36}"/>
              </a:ext>
            </a:extLst>
          </p:cNvPr>
          <p:cNvSpPr/>
          <p:nvPr userDrawn="1"/>
        </p:nvSpPr>
        <p:spPr>
          <a:xfrm>
            <a:off x="3933172" y="0"/>
            <a:ext cx="146335" cy="6858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4912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4E1B898-763C-4852-A79F-E8661BF431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17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4E1B898-763C-4852-A79F-E8661BF431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87798"/>
          </a:xfrm>
          <a:prstGeom prst="rect">
            <a:avLst/>
          </a:prstGeom>
        </p:spPr>
        <p:txBody>
          <a:bodyPr vert="horz"/>
          <a:lstStyle>
            <a:lvl1pPr>
              <a:defRPr sz="2800"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091397D-8647-4BE7-81CF-9CF029D8FCDA}"/>
              </a:ext>
            </a:extLst>
          </p:cNvPr>
          <p:cNvSpPr/>
          <p:nvPr userDrawn="1"/>
        </p:nvSpPr>
        <p:spPr>
          <a:xfrm>
            <a:off x="7025621" y="0"/>
            <a:ext cx="146335" cy="6858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2637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874A8FC-CDE3-4D4F-892B-A3495C859B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41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74A8FC-CDE3-4D4F-892B-A3495C859B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87798"/>
          </a:xfrm>
          <a:prstGeom prst="rect">
            <a:avLst/>
          </a:prstGeom>
        </p:spPr>
        <p:txBody>
          <a:bodyPr vert="horz"/>
          <a:lstStyle>
            <a:lvl1pPr>
              <a:defRPr sz="2800"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11CEE8B-895D-45FB-9F5A-5BE236414DD6}"/>
              </a:ext>
            </a:extLst>
          </p:cNvPr>
          <p:cNvSpPr/>
          <p:nvPr userDrawn="1"/>
        </p:nvSpPr>
        <p:spPr>
          <a:xfrm>
            <a:off x="8887937" y="0"/>
            <a:ext cx="146335" cy="6858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1334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17AA9AF-24B8-4A9D-8171-D5C07F1ED1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65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7AA9AF-24B8-4A9D-8171-D5C07F1ED1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CBE7469-EEDF-422B-9FDD-2F464EB37675}"/>
              </a:ext>
            </a:extLst>
          </p:cNvPr>
          <p:cNvSpPr/>
          <p:nvPr userDrawn="1"/>
        </p:nvSpPr>
        <p:spPr>
          <a:xfrm>
            <a:off x="4080763" y="0"/>
            <a:ext cx="146335" cy="6858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B04D9F2-D36E-4C1F-B9F3-1F1A5D393E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998774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238356" y="0"/>
            <a:ext cx="5953642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386BFCD-0B14-4B1A-9177-0FF1CF140717}"/>
              </a:ext>
            </a:extLst>
          </p:cNvPr>
          <p:cNvSpPr/>
          <p:nvPr userDrawn="1"/>
        </p:nvSpPr>
        <p:spPr>
          <a:xfrm>
            <a:off x="6092021" y="0"/>
            <a:ext cx="146335" cy="6858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A5FB1F0-7FD8-4793-B534-CB4C0824AA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15570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966360" y="0"/>
            <a:ext cx="422564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714F7E4-94F2-42EA-8143-6D57086FF3ED}"/>
              </a:ext>
            </a:extLst>
          </p:cNvPr>
          <p:cNvSpPr/>
          <p:nvPr userDrawn="1"/>
        </p:nvSpPr>
        <p:spPr>
          <a:xfrm>
            <a:off x="7820025" y="0"/>
            <a:ext cx="146335" cy="6858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1F561BB-3432-47E0-B053-8E4B0314EA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146904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89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14">
            <a:extLst>
              <a:ext uri="{FF2B5EF4-FFF2-40B4-BE49-F238E27FC236}">
                <a16:creationId xmlns:a16="http://schemas.microsoft.com/office/drawing/2014/main" id="{45B54F1D-A842-4EE3-996D-7C5098077C01}"/>
              </a:ext>
            </a:extLst>
          </p:cNvPr>
          <p:cNvSpPr/>
          <p:nvPr userDrawn="1"/>
        </p:nvSpPr>
        <p:spPr bwMode="ltGray">
          <a:xfrm>
            <a:off x="1539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27564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6B8976B-5D7F-4C03-AB28-C06137908F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13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6B8976B-5D7F-4C03-AB28-C06137908F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reeform 14">
            <a:extLst>
              <a:ext uri="{FF2B5EF4-FFF2-40B4-BE49-F238E27FC236}">
                <a16:creationId xmlns:a16="http://schemas.microsoft.com/office/drawing/2014/main" id="{3781BDC1-863D-4112-ADA7-A6D5594F8417}"/>
              </a:ext>
            </a:extLst>
          </p:cNvPr>
          <p:cNvSpPr/>
          <p:nvPr userDrawn="1"/>
        </p:nvSpPr>
        <p:spPr bwMode="ltGray">
          <a:xfrm>
            <a:off x="1539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28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34285E9-F4BF-4D90-8B71-13892AB45B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77224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A2B80CE-FFD6-43F3-819F-EE6B14751A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37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2B80CE-FFD6-43F3-819F-EE6B14751A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>
            <a:extLst>
              <a:ext uri="{FF2B5EF4-FFF2-40B4-BE49-F238E27FC236}">
                <a16:creationId xmlns:a16="http://schemas.microsoft.com/office/drawing/2014/main" id="{91E2A49F-7859-42DA-B450-A9F33FE95F5A}"/>
              </a:ext>
            </a:extLst>
          </p:cNvPr>
          <p:cNvSpPr/>
          <p:nvPr userDrawn="1"/>
        </p:nvSpPr>
        <p:spPr bwMode="white">
          <a:xfrm>
            <a:off x="15240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51233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5DFA9FC-D1EA-4C5C-9D29-B61FB693CC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61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DFA9FC-D1EA-4C5C-9D29-B61FB693CC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entagon 3">
            <a:extLst>
              <a:ext uri="{FF2B5EF4-FFF2-40B4-BE49-F238E27FC236}">
                <a16:creationId xmlns:a16="http://schemas.microsoft.com/office/drawing/2014/main" id="{82B220B0-372F-43E3-A109-6CF066759AAB}"/>
              </a:ext>
            </a:extLst>
          </p:cNvPr>
          <p:cNvSpPr/>
          <p:nvPr userDrawn="1"/>
        </p:nvSpPr>
        <p:spPr bwMode="white">
          <a:xfrm>
            <a:off x="15240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C2C706E-CD0A-4E81-8224-11B6D69D18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366257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3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5952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8467050-7856-47A8-84E0-CB1BCD1CC9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85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467050-7856-47A8-84E0-CB1BCD1CC9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>
            <a:extLst>
              <a:ext uri="{FF2B5EF4-FFF2-40B4-BE49-F238E27FC236}">
                <a16:creationId xmlns:a16="http://schemas.microsoft.com/office/drawing/2014/main" id="{B73AD998-F645-4859-86EF-26B678D7BE4B}"/>
              </a:ext>
            </a:extLst>
          </p:cNvPr>
          <p:cNvSpPr/>
          <p:nvPr userDrawn="1"/>
        </p:nvSpPr>
        <p:spPr bwMode="white">
          <a:xfrm>
            <a:off x="15240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87798"/>
          </a:xfrm>
          <a:prstGeom prst="rect">
            <a:avLst/>
          </a:prstGeom>
        </p:spPr>
        <p:txBody>
          <a:bodyPr vert="horz"/>
          <a:lstStyle>
            <a:lvl1pPr>
              <a:defRPr sz="2800"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9318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CFE9EBF-06A2-4BD6-99DF-3F63DFAE8A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9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CFE9EBF-06A2-4BD6-99DF-3F63DFAE8A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entagon 8">
            <a:extLst>
              <a:ext uri="{FF2B5EF4-FFF2-40B4-BE49-F238E27FC236}">
                <a16:creationId xmlns:a16="http://schemas.microsoft.com/office/drawing/2014/main" id="{9356E77E-8E93-461D-817C-F328F630EB9D}"/>
              </a:ext>
            </a:extLst>
          </p:cNvPr>
          <p:cNvSpPr/>
          <p:nvPr userDrawn="1"/>
        </p:nvSpPr>
        <p:spPr bwMode="white">
          <a:xfrm>
            <a:off x="15240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87798"/>
          </a:xfrm>
          <a:prstGeom prst="rect">
            <a:avLst/>
          </a:prstGeom>
        </p:spPr>
        <p:txBody>
          <a:bodyPr vert="horz"/>
          <a:lstStyle>
            <a:lvl1pPr>
              <a:defRPr sz="28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30D66B2-724B-427D-8D73-6A4149CE0E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473819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AA61861-91E0-4059-A925-33EE70ECF3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33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A61861-91E0-4059-A925-33EE70ECF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8">
            <a:extLst>
              <a:ext uri="{FF2B5EF4-FFF2-40B4-BE49-F238E27FC236}">
                <a16:creationId xmlns:a16="http://schemas.microsoft.com/office/drawing/2014/main" id="{46D81488-9FB8-4587-B002-2347F56DBEE6}"/>
              </a:ext>
            </a:extLst>
          </p:cNvPr>
          <p:cNvSpPr/>
          <p:nvPr userDrawn="1"/>
        </p:nvSpPr>
        <p:spPr bwMode="white">
          <a:xfrm>
            <a:off x="15240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87798"/>
          </a:xfrm>
          <a:prstGeom prst="rect">
            <a:avLst/>
          </a:prstGeom>
        </p:spPr>
        <p:txBody>
          <a:bodyPr vert="horz"/>
          <a:lstStyle>
            <a:lvl1pPr>
              <a:defRPr sz="2800"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32632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9B3FB2A-F8CD-4E5F-BC9B-F2BAFFB8A0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57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B3FB2A-F8CD-4E5F-BC9B-F2BAFFB8A0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8">
            <a:extLst>
              <a:ext uri="{FF2B5EF4-FFF2-40B4-BE49-F238E27FC236}">
                <a16:creationId xmlns:a16="http://schemas.microsoft.com/office/drawing/2014/main" id="{11B0A1E8-4908-4530-945A-00578C53E7A9}"/>
              </a:ext>
            </a:extLst>
          </p:cNvPr>
          <p:cNvSpPr/>
          <p:nvPr userDrawn="1"/>
        </p:nvSpPr>
        <p:spPr bwMode="white">
          <a:xfrm>
            <a:off x="15240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87798"/>
          </a:xfrm>
          <a:prstGeom prst="rect">
            <a:avLst/>
          </a:prstGeom>
        </p:spPr>
        <p:txBody>
          <a:bodyPr vert="horz"/>
          <a:lstStyle>
            <a:lvl1pPr>
              <a:defRPr sz="28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14AF30-37DC-483C-8B69-D2C24A9596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841638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EC9553-52A0-445D-BDF7-7BE623AADE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874426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447882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81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11" b="-40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706C710-2025-461F-887B-6B881CEA8A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030797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79E246B-6627-4270-AEBF-6E427B8B1A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05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9E246B-6627-4270-AEBF-6E427B8B1A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87798"/>
          </a:xfrm>
        </p:spPr>
        <p:txBody>
          <a:bodyPr vert="horz"/>
          <a:lstStyle>
            <a:lvl1pPr>
              <a:defRPr sz="28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80070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8424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1673B08-9749-4910-8876-46C57F559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636707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90660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8757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950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2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FFCD120-6C9E-4728-806B-AFBAF1A241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845730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78AF22E-9B53-4DFB-AE10-2A273FCBDD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138323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D601EF44-65AB-426F-ACB9-C4E55DDEE9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184673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64DA0B-50DE-4603-B436-EE2DFC433388}"/>
              </a:ext>
            </a:extLst>
          </p:cNvPr>
          <p:cNvSpPr/>
          <p:nvPr userDrawn="1"/>
        </p:nvSpPr>
        <p:spPr>
          <a:xfrm>
            <a:off x="4080763" y="0"/>
            <a:ext cx="146335" cy="6858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653C29F-F22C-4876-8B32-71822A886E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64846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558423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9653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1985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68" b="10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B629FB-F882-47B9-A78F-DBC50F80739E}"/>
              </a:ext>
            </a:extLst>
          </p:cNvPr>
          <p:cNvSpPr/>
          <p:nvPr userDrawn="1"/>
        </p:nvSpPr>
        <p:spPr>
          <a:xfrm>
            <a:off x="4080763" y="0"/>
            <a:ext cx="146335" cy="6858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7A2AC36-4308-4933-9F93-4A5E5B4D94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316269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9834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2">
            <a:extLst>
              <a:ext uri="{FF2B5EF4-FFF2-40B4-BE49-F238E27FC236}">
                <a16:creationId xmlns:a16="http://schemas.microsoft.com/office/drawing/2014/main" id="{B08D49D8-D9DB-4F1F-86F3-053AE6A22573}"/>
              </a:ext>
            </a:extLst>
          </p:cNvPr>
          <p:cNvSpPr/>
          <p:nvPr userDrawn="1"/>
        </p:nvSpPr>
        <p:spPr bwMode="ltGray">
          <a:xfrm>
            <a:off x="15240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7872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84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 descr="A submarine in the water&#10;&#10;Description automatically generated">
            <a:extLst>
              <a:ext uri="{FF2B5EF4-FFF2-40B4-BE49-F238E27FC236}">
                <a16:creationId xmlns:a16="http://schemas.microsoft.com/office/drawing/2014/main" id="{E32D9992-4C71-4644-8CE5-25CAEBBD376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470151" y="0"/>
            <a:ext cx="8296275" cy="6858000"/>
          </a:xfrm>
          <a:custGeom>
            <a:avLst/>
            <a:gdLst>
              <a:gd name="connsiteX0" fmla="*/ 4143399 w 8296275"/>
              <a:gd name="connsiteY0" fmla="*/ 0 h 6858000"/>
              <a:gd name="connsiteX1" fmla="*/ 8296275 w 8296275"/>
              <a:gd name="connsiteY1" fmla="*/ 0 h 6858000"/>
              <a:gd name="connsiteX2" fmla="*/ 4152877 w 8296275"/>
              <a:gd name="connsiteY2" fmla="*/ 6858000 h 6858000"/>
              <a:gd name="connsiteX3" fmla="*/ 0 w 829627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96275" h="6858000">
                <a:moveTo>
                  <a:pt x="4143399" y="0"/>
                </a:moveTo>
                <a:lnTo>
                  <a:pt x="8296275" y="0"/>
                </a:lnTo>
                <a:lnTo>
                  <a:pt x="4152877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16" name="Picture 15" descr="A group of boats in the water&#10;&#10;Description automatically generated">
            <a:extLst>
              <a:ext uri="{FF2B5EF4-FFF2-40B4-BE49-F238E27FC236}">
                <a16:creationId xmlns:a16="http://schemas.microsoft.com/office/drawing/2014/main" id="{A03B6E11-7A5F-4279-9FD2-CE135D12305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756400" y="0"/>
            <a:ext cx="5435600" cy="6858000"/>
          </a:xfrm>
          <a:custGeom>
            <a:avLst/>
            <a:gdLst>
              <a:gd name="connsiteX0" fmla="*/ 4143398 w 5435600"/>
              <a:gd name="connsiteY0" fmla="*/ 0 h 6858000"/>
              <a:gd name="connsiteX1" fmla="*/ 5435600 w 5435600"/>
              <a:gd name="connsiteY1" fmla="*/ 0 h 6858000"/>
              <a:gd name="connsiteX2" fmla="*/ 5435600 w 5435600"/>
              <a:gd name="connsiteY2" fmla="*/ 4734885 h 6858000"/>
              <a:gd name="connsiteX3" fmla="*/ 4152877 w 5435600"/>
              <a:gd name="connsiteY3" fmla="*/ 6858000 h 6858000"/>
              <a:gd name="connsiteX4" fmla="*/ 0 w 543560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35600" h="6858000">
                <a:moveTo>
                  <a:pt x="4143398" y="0"/>
                </a:moveTo>
                <a:lnTo>
                  <a:pt x="5435600" y="0"/>
                </a:lnTo>
                <a:lnTo>
                  <a:pt x="5435600" y="4734885"/>
                </a:lnTo>
                <a:lnTo>
                  <a:pt x="4152877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ECF4FFD7-FCE8-43CF-AEB3-5A2DFED31DAC}"/>
              </a:ext>
            </a:extLst>
          </p:cNvPr>
          <p:cNvSpPr/>
          <p:nvPr userDrawn="1"/>
        </p:nvSpPr>
        <p:spPr>
          <a:xfrm flipH="1">
            <a:off x="11042650" y="4940109"/>
            <a:ext cx="1149350" cy="1917892"/>
          </a:xfrm>
          <a:custGeom>
            <a:avLst/>
            <a:gdLst>
              <a:gd name="connsiteX0" fmla="*/ 0 w 1149350"/>
              <a:gd name="connsiteY0" fmla="*/ 0 h 1917892"/>
              <a:gd name="connsiteX1" fmla="*/ 0 w 1149350"/>
              <a:gd name="connsiteY1" fmla="*/ 1917892 h 1917892"/>
              <a:gd name="connsiteX2" fmla="*/ 1149350 w 1149350"/>
              <a:gd name="connsiteY2" fmla="*/ 1917892 h 1917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49350" h="1917892">
                <a:moveTo>
                  <a:pt x="0" y="0"/>
                </a:moveTo>
                <a:lnTo>
                  <a:pt x="0" y="1917892"/>
                </a:lnTo>
                <a:lnTo>
                  <a:pt x="1149350" y="1917892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9013B216-FA6C-4772-B747-4454B4FB4E63}"/>
              </a:ext>
            </a:extLst>
          </p:cNvPr>
          <p:cNvSpPr/>
          <p:nvPr userDrawn="1"/>
        </p:nvSpPr>
        <p:spPr>
          <a:xfrm rot="18065892">
            <a:off x="219788" y="3308763"/>
            <a:ext cx="8154085" cy="240475"/>
          </a:xfrm>
          <a:custGeom>
            <a:avLst/>
            <a:gdLst>
              <a:gd name="connsiteX0" fmla="*/ 8075701 w 8154085"/>
              <a:gd name="connsiteY0" fmla="*/ 110526 h 240475"/>
              <a:gd name="connsiteX1" fmla="*/ 8154085 w 8154085"/>
              <a:gd name="connsiteY1" fmla="*/ 240475 h 240475"/>
              <a:gd name="connsiteX2" fmla="*/ 460570 w 8154085"/>
              <a:gd name="connsiteY2" fmla="*/ 240475 h 240475"/>
              <a:gd name="connsiteX3" fmla="*/ 460570 w 8154085"/>
              <a:gd name="connsiteY3" fmla="*/ 236024 h 240475"/>
              <a:gd name="connsiteX4" fmla="*/ 142369 w 8154085"/>
              <a:gd name="connsiteY4" fmla="*/ 236024 h 240475"/>
              <a:gd name="connsiteX5" fmla="*/ 0 w 8154085"/>
              <a:gd name="connsiteY5" fmla="*/ 0 h 240475"/>
              <a:gd name="connsiteX6" fmla="*/ 2860898 w 8154085"/>
              <a:gd name="connsiteY6" fmla="*/ 0 h 240475"/>
              <a:gd name="connsiteX7" fmla="*/ 2971423 w 8154085"/>
              <a:gd name="connsiteY7" fmla="*/ 110526 h 240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154085" h="240475">
                <a:moveTo>
                  <a:pt x="8075701" y="110526"/>
                </a:moveTo>
                <a:lnTo>
                  <a:pt x="8154085" y="240475"/>
                </a:lnTo>
                <a:lnTo>
                  <a:pt x="460570" y="240475"/>
                </a:lnTo>
                <a:lnTo>
                  <a:pt x="460570" y="236024"/>
                </a:lnTo>
                <a:lnTo>
                  <a:pt x="142369" y="236024"/>
                </a:lnTo>
                <a:lnTo>
                  <a:pt x="0" y="0"/>
                </a:lnTo>
                <a:lnTo>
                  <a:pt x="2860898" y="0"/>
                </a:lnTo>
                <a:lnTo>
                  <a:pt x="2971423" y="110526"/>
                </a:lnTo>
                <a:close/>
              </a:path>
            </a:pathLst>
          </a:cu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630000" y="3026838"/>
            <a:ext cx="2852340" cy="18768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tx1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630000" y="2346469"/>
            <a:ext cx="3827700" cy="281552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indent="0" algn="l">
              <a:lnSpc>
                <a:spcPct val="110000"/>
              </a:lnSpc>
              <a:buNone/>
              <a:defRPr sz="1800" baseline="0">
                <a:solidFill>
                  <a:schemeClr val="tx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630000" y="688204"/>
            <a:ext cx="4262040" cy="1259447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lnSpc>
                <a:spcPct val="93000"/>
              </a:lnSpc>
              <a:defRPr sz="44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B91042EA-E0B7-40D4-A9A4-64196B2CA9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print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21" t="21408" r="7529" b="16546"/>
          <a:stretch/>
        </p:blipFill>
        <p:spPr>
          <a:xfrm>
            <a:off x="7752629" y="5523251"/>
            <a:ext cx="2656609" cy="1149494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849719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EC46368-07B6-4292-9919-DC0C5FF1DB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0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C46368-07B6-4292-9919-DC0C5FF1DB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686050" y="622799"/>
            <a:ext cx="8877149" cy="470898"/>
          </a:xfrm>
          <a:prstGeom prst="rect">
            <a:avLst/>
          </a:prstGeom>
        </p:spPr>
        <p:txBody>
          <a:bodyPr vert="horz" wrap="square" lIns="0" tIns="0" rIns="0" bIns="0" anchor="ctr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261A04B-02F3-4F64-80E7-2AF5150E46FE}"/>
              </a:ext>
            </a:extLst>
          </p:cNvPr>
          <p:cNvGrpSpPr/>
          <p:nvPr userDrawn="1"/>
        </p:nvGrpSpPr>
        <p:grpSpPr>
          <a:xfrm>
            <a:off x="423198" y="-2418"/>
            <a:ext cx="1993900" cy="1718915"/>
            <a:chOff x="423198" y="-2418"/>
            <a:chExt cx="1993900" cy="1718915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ADB4298-AF1F-489F-B367-32E61ABD7563}"/>
                </a:ext>
              </a:extLst>
            </p:cNvPr>
            <p:cNvSpPr/>
            <p:nvPr/>
          </p:nvSpPr>
          <p:spPr>
            <a:xfrm>
              <a:off x="629399" y="-2418"/>
              <a:ext cx="1581497" cy="1718915"/>
            </a:xfrm>
            <a:prstGeom prst="rect">
              <a:avLst/>
            </a:prstGeom>
            <a:solidFill>
              <a:srgbClr val="3599DB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CDFCF86-9362-4F32-8AF6-BB198BDEC62B}"/>
                </a:ext>
              </a:extLst>
            </p:cNvPr>
            <p:cNvSpPr/>
            <p:nvPr/>
          </p:nvSpPr>
          <p:spPr>
            <a:xfrm>
              <a:off x="423198" y="188777"/>
              <a:ext cx="1993900" cy="1338943"/>
            </a:xfrm>
            <a:prstGeom prst="rect">
              <a:avLst/>
            </a:prstGeom>
            <a:solidFill>
              <a:schemeClr val="tx2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ECFA84E5-B47D-460F-A9B5-3405F18CE9F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clrChange>
                <a:clrFrom>
                  <a:srgbClr val="12284B"/>
                </a:clrFrom>
                <a:clrTo>
                  <a:srgbClr val="12284B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921" t="21408" r="7529" b="16546"/>
            <a:stretch/>
          </p:blipFill>
          <p:spPr>
            <a:xfrm>
              <a:off x="546578" y="480263"/>
              <a:ext cx="1747140" cy="755972"/>
            </a:xfrm>
            <a:custGeom>
              <a:avLst/>
              <a:gdLst>
                <a:gd name="connsiteX0" fmla="*/ 0 w 3649041"/>
                <a:gd name="connsiteY0" fmla="*/ 0 h 2098956"/>
                <a:gd name="connsiteX1" fmla="*/ 3649041 w 3649041"/>
                <a:gd name="connsiteY1" fmla="*/ 0 h 2098956"/>
                <a:gd name="connsiteX2" fmla="*/ 3649041 w 3649041"/>
                <a:gd name="connsiteY2" fmla="*/ 2098956 h 2098956"/>
                <a:gd name="connsiteX3" fmla="*/ 0 w 3649041"/>
                <a:gd name="connsiteY3" fmla="*/ 2098956 h 2098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49041" h="2098956">
                  <a:moveTo>
                    <a:pt x="0" y="0"/>
                  </a:moveTo>
                  <a:lnTo>
                    <a:pt x="3649041" y="0"/>
                  </a:lnTo>
                  <a:lnTo>
                    <a:pt x="3649041" y="2098956"/>
                  </a:lnTo>
                  <a:lnTo>
                    <a:pt x="0" y="2098956"/>
                  </a:lnTo>
                  <a:close/>
                </a:path>
              </a:pathLst>
            </a:custGeom>
          </p:spPr>
        </p:pic>
      </p:grpSp>
    </p:spTree>
    <p:extLst>
      <p:ext uri="{BB962C8B-B14F-4D97-AF65-F5344CB8AC3E}">
        <p14:creationId xmlns:p14="http://schemas.microsoft.com/office/powerpoint/2010/main" val="4130213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97C874C-43A8-4676-B50A-6D6D30D2A3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32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7C874C-43A8-4676-B50A-6D6D30D2A3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BC51CD4-CF88-42B5-A476-B708D0B6F69C}"/>
              </a:ext>
            </a:extLst>
          </p:cNvPr>
          <p:cNvGrpSpPr/>
          <p:nvPr userDrawn="1"/>
        </p:nvGrpSpPr>
        <p:grpSpPr>
          <a:xfrm>
            <a:off x="423198" y="-2418"/>
            <a:ext cx="1993900" cy="1718915"/>
            <a:chOff x="423198" y="-2418"/>
            <a:chExt cx="1993900" cy="1718915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B76EC99E-6DD2-49CC-8C63-F6A0C9BFA009}"/>
                </a:ext>
              </a:extLst>
            </p:cNvPr>
            <p:cNvSpPr/>
            <p:nvPr/>
          </p:nvSpPr>
          <p:spPr>
            <a:xfrm>
              <a:off x="629399" y="-2418"/>
              <a:ext cx="1581497" cy="1718915"/>
            </a:xfrm>
            <a:prstGeom prst="rect">
              <a:avLst/>
            </a:prstGeom>
            <a:solidFill>
              <a:srgbClr val="3599DB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F7C38A7-7CC7-4CCB-8A6C-B190E2429174}"/>
                </a:ext>
              </a:extLst>
            </p:cNvPr>
            <p:cNvSpPr/>
            <p:nvPr/>
          </p:nvSpPr>
          <p:spPr>
            <a:xfrm>
              <a:off x="423198" y="188777"/>
              <a:ext cx="1993900" cy="1338943"/>
            </a:xfrm>
            <a:prstGeom prst="rect">
              <a:avLst/>
            </a:prstGeom>
            <a:solidFill>
              <a:schemeClr val="tx2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45F7F3DB-6895-4CF8-9027-2C740EB4C34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clrChange>
                <a:clrFrom>
                  <a:srgbClr val="12284B"/>
                </a:clrFrom>
                <a:clrTo>
                  <a:srgbClr val="12284B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921" t="21408" r="7529" b="16546"/>
            <a:stretch/>
          </p:blipFill>
          <p:spPr>
            <a:xfrm>
              <a:off x="546578" y="480263"/>
              <a:ext cx="1747140" cy="755972"/>
            </a:xfrm>
            <a:custGeom>
              <a:avLst/>
              <a:gdLst>
                <a:gd name="connsiteX0" fmla="*/ 0 w 3649041"/>
                <a:gd name="connsiteY0" fmla="*/ 0 h 2098956"/>
                <a:gd name="connsiteX1" fmla="*/ 3649041 w 3649041"/>
                <a:gd name="connsiteY1" fmla="*/ 0 h 2098956"/>
                <a:gd name="connsiteX2" fmla="*/ 3649041 w 3649041"/>
                <a:gd name="connsiteY2" fmla="*/ 2098956 h 2098956"/>
                <a:gd name="connsiteX3" fmla="*/ 0 w 3649041"/>
                <a:gd name="connsiteY3" fmla="*/ 2098956 h 2098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49041" h="2098956">
                  <a:moveTo>
                    <a:pt x="0" y="0"/>
                  </a:moveTo>
                  <a:lnTo>
                    <a:pt x="3649041" y="0"/>
                  </a:lnTo>
                  <a:lnTo>
                    <a:pt x="3649041" y="2098956"/>
                  </a:lnTo>
                  <a:lnTo>
                    <a:pt x="0" y="2098956"/>
                  </a:lnTo>
                  <a:close/>
                </a:path>
              </a:pathLst>
            </a:custGeom>
          </p:spPr>
        </p:pic>
      </p:grpSp>
      <p:sp>
        <p:nvSpPr>
          <p:cNvPr id="11" name="Title 4">
            <a:extLst>
              <a:ext uri="{FF2B5EF4-FFF2-40B4-BE49-F238E27FC236}">
                <a16:creationId xmlns:a16="http://schemas.microsoft.com/office/drawing/2014/main" id="{026C59A6-3299-4C12-95DD-0DDDE29416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6050" y="622799"/>
            <a:ext cx="8877149" cy="470898"/>
          </a:xfrm>
          <a:prstGeom prst="rect">
            <a:avLst/>
          </a:prstGeom>
        </p:spPr>
        <p:txBody>
          <a:bodyPr vert="horz" wrap="square" lIns="0" tIns="0" rIns="0" bIns="0" anchor="ctr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38753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shes Vision Statem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EC46368-07B6-4292-9919-DC0C5FF1DB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5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C46368-07B6-4292-9919-DC0C5FF1DB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672BBDA5-F3E1-4A61-B7D8-69AA04CE20FA}"/>
              </a:ext>
            </a:extLst>
          </p:cNvPr>
          <p:cNvSpPr/>
          <p:nvPr userDrawn="1"/>
        </p:nvSpPr>
        <p:spPr>
          <a:xfrm>
            <a:off x="3466383" y="0"/>
            <a:ext cx="1120598" cy="990600"/>
          </a:xfrm>
          <a:prstGeom prst="triangle">
            <a:avLst/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913E0C66-A4AB-4714-AA8F-AEAFFCA1EFD7}"/>
              </a:ext>
            </a:extLst>
          </p:cNvPr>
          <p:cNvSpPr/>
          <p:nvPr userDrawn="1"/>
        </p:nvSpPr>
        <p:spPr>
          <a:xfrm flipV="1">
            <a:off x="7604905" y="5867400"/>
            <a:ext cx="1120598" cy="990600"/>
          </a:xfrm>
          <a:prstGeom prst="triangle">
            <a:avLst/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00961174-A7E3-49AE-9B55-9450D2D97D16}"/>
              </a:ext>
            </a:extLst>
          </p:cNvPr>
          <p:cNvSpPr/>
          <p:nvPr userDrawn="1"/>
        </p:nvSpPr>
        <p:spPr>
          <a:xfrm>
            <a:off x="2510972" y="558800"/>
            <a:ext cx="7322456" cy="5713030"/>
          </a:xfrm>
          <a:prstGeom prst="parallelogram">
            <a:avLst>
              <a:gd name="adj" fmla="val 16775"/>
            </a:avLst>
          </a:prstGeom>
          <a:solidFill>
            <a:schemeClr val="bg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DC874074-FF57-4068-9734-3424BC00B2BA}"/>
              </a:ext>
            </a:extLst>
          </p:cNvPr>
          <p:cNvSpPr/>
          <p:nvPr userDrawn="1"/>
        </p:nvSpPr>
        <p:spPr>
          <a:xfrm flipH="1" flipV="1">
            <a:off x="5826" y="0"/>
            <a:ext cx="4020265" cy="6858000"/>
          </a:xfrm>
          <a:custGeom>
            <a:avLst/>
            <a:gdLst>
              <a:gd name="connsiteX0" fmla="*/ 4020265 w 4020265"/>
              <a:gd name="connsiteY0" fmla="*/ 6858000 h 6858000"/>
              <a:gd name="connsiteX1" fmla="*/ 0 w 4020265"/>
              <a:gd name="connsiteY1" fmla="*/ 6858000 h 6858000"/>
              <a:gd name="connsiteX2" fmla="*/ 1341682 w 4020265"/>
              <a:gd name="connsiteY2" fmla="*/ 0 h 6858000"/>
              <a:gd name="connsiteX3" fmla="*/ 4020265 w 4020265"/>
              <a:gd name="connsiteY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20265" h="6858000">
                <a:moveTo>
                  <a:pt x="4020265" y="6858000"/>
                </a:moveTo>
                <a:lnTo>
                  <a:pt x="0" y="6858000"/>
                </a:lnTo>
                <a:lnTo>
                  <a:pt x="1341682" y="0"/>
                </a:lnTo>
                <a:lnTo>
                  <a:pt x="4020265" y="0"/>
                </a:lnTo>
                <a:close/>
              </a:path>
            </a:pathLst>
          </a:custGeom>
          <a:solidFill>
            <a:srgbClr val="00206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6F675FEF-921F-4FDA-A0C9-0C55C43B1CE4}"/>
              </a:ext>
            </a:extLst>
          </p:cNvPr>
          <p:cNvSpPr/>
          <p:nvPr userDrawn="1"/>
        </p:nvSpPr>
        <p:spPr>
          <a:xfrm flipH="1" flipV="1">
            <a:off x="5826" y="1"/>
            <a:ext cx="3170576" cy="6858000"/>
          </a:xfrm>
          <a:custGeom>
            <a:avLst/>
            <a:gdLst>
              <a:gd name="connsiteX0" fmla="*/ 3170576 w 3170576"/>
              <a:gd name="connsiteY0" fmla="*/ 6858000 h 6858000"/>
              <a:gd name="connsiteX1" fmla="*/ 0 w 3170576"/>
              <a:gd name="connsiteY1" fmla="*/ 6858000 h 6858000"/>
              <a:gd name="connsiteX2" fmla="*/ 1341682 w 3170576"/>
              <a:gd name="connsiteY2" fmla="*/ 0 h 6858000"/>
              <a:gd name="connsiteX3" fmla="*/ 3170576 w 3170576"/>
              <a:gd name="connsiteY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70576" h="6858000">
                <a:moveTo>
                  <a:pt x="3170576" y="6858000"/>
                </a:moveTo>
                <a:lnTo>
                  <a:pt x="0" y="6858000"/>
                </a:lnTo>
                <a:lnTo>
                  <a:pt x="1341682" y="0"/>
                </a:lnTo>
                <a:lnTo>
                  <a:pt x="3170576" y="0"/>
                </a:lnTo>
                <a:close/>
              </a:path>
            </a:pathLst>
          </a:cu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D49251F1-A0B0-4598-9A47-07D1E6CC043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 l="18080" t="9347" r="53748" b="9021"/>
          <a:stretch>
            <a:fillRect/>
          </a:stretch>
        </p:blipFill>
        <p:spPr>
          <a:xfrm>
            <a:off x="-624114" y="0"/>
            <a:ext cx="3550135" cy="6858000"/>
          </a:xfrm>
          <a:custGeom>
            <a:avLst/>
            <a:gdLst>
              <a:gd name="connsiteX0" fmla="*/ 624114 w 3550135"/>
              <a:gd name="connsiteY0" fmla="*/ 0 h 6858000"/>
              <a:gd name="connsiteX1" fmla="*/ 1335206 w 3550135"/>
              <a:gd name="connsiteY1" fmla="*/ 0 h 6858000"/>
              <a:gd name="connsiteX2" fmla="*/ 1592271 w 3550135"/>
              <a:gd name="connsiteY2" fmla="*/ 0 h 6858000"/>
              <a:gd name="connsiteX3" fmla="*/ 3550135 w 3550135"/>
              <a:gd name="connsiteY3" fmla="*/ 0 h 6858000"/>
              <a:gd name="connsiteX4" fmla="*/ 2214929 w 3550135"/>
              <a:gd name="connsiteY4" fmla="*/ 6858000 h 6858000"/>
              <a:gd name="connsiteX5" fmla="*/ 1592271 w 3550135"/>
              <a:gd name="connsiteY5" fmla="*/ 6858000 h 6858000"/>
              <a:gd name="connsiteX6" fmla="*/ 0 w 3550135"/>
              <a:gd name="connsiteY6" fmla="*/ 6858000 h 6858000"/>
              <a:gd name="connsiteX7" fmla="*/ 0 w 3550135"/>
              <a:gd name="connsiteY7" fmla="*/ 6857999 h 6858000"/>
              <a:gd name="connsiteX8" fmla="*/ 624114 w 3550135"/>
              <a:gd name="connsiteY8" fmla="*/ 685799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50135" h="6858000">
                <a:moveTo>
                  <a:pt x="624114" y="0"/>
                </a:moveTo>
                <a:lnTo>
                  <a:pt x="1335206" y="0"/>
                </a:lnTo>
                <a:lnTo>
                  <a:pt x="1592271" y="0"/>
                </a:lnTo>
                <a:lnTo>
                  <a:pt x="3550135" y="0"/>
                </a:lnTo>
                <a:lnTo>
                  <a:pt x="2214929" y="6858000"/>
                </a:lnTo>
                <a:lnTo>
                  <a:pt x="1592271" y="6858000"/>
                </a:lnTo>
                <a:lnTo>
                  <a:pt x="0" y="6858000"/>
                </a:lnTo>
                <a:lnTo>
                  <a:pt x="0" y="6857999"/>
                </a:lnTo>
                <a:lnTo>
                  <a:pt x="624114" y="6857999"/>
                </a:lnTo>
                <a:close/>
              </a:path>
            </a:pathLst>
          </a:custGeom>
        </p:spPr>
      </p:pic>
      <p:sp>
        <p:nvSpPr>
          <p:cNvPr id="3" name="Date Placeholder 2"/>
          <p:cNvSpPr>
            <a:spLocks noGrp="1"/>
          </p:cNvSpPr>
          <p:nvPr userDrawn="1"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AAC260E-813E-4933-A9BD-32385C4EF4F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258448" y="1476322"/>
            <a:ext cx="3676451" cy="3877985"/>
          </a:xfrm>
        </p:spPr>
        <p:txBody>
          <a:bodyPr vert="horz" anchor="ctr">
            <a:noAutofit/>
          </a:bodyPr>
          <a:lstStyle>
            <a:lvl1pPr algn="ctr">
              <a:defRPr sz="28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6272D757-8B38-4CAF-A041-032E69242CA8}"/>
              </a:ext>
            </a:extLst>
          </p:cNvPr>
          <p:cNvSpPr/>
          <p:nvPr userDrawn="1"/>
        </p:nvSpPr>
        <p:spPr>
          <a:xfrm>
            <a:off x="8165795" y="1"/>
            <a:ext cx="4020265" cy="6858000"/>
          </a:xfrm>
          <a:custGeom>
            <a:avLst/>
            <a:gdLst>
              <a:gd name="connsiteX0" fmla="*/ 4020265 w 4020265"/>
              <a:gd name="connsiteY0" fmla="*/ 6858000 h 6858000"/>
              <a:gd name="connsiteX1" fmla="*/ 0 w 4020265"/>
              <a:gd name="connsiteY1" fmla="*/ 6858000 h 6858000"/>
              <a:gd name="connsiteX2" fmla="*/ 1341682 w 4020265"/>
              <a:gd name="connsiteY2" fmla="*/ 0 h 6858000"/>
              <a:gd name="connsiteX3" fmla="*/ 4020265 w 4020265"/>
              <a:gd name="connsiteY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20265" h="6858000">
                <a:moveTo>
                  <a:pt x="4020265" y="6858000"/>
                </a:moveTo>
                <a:lnTo>
                  <a:pt x="0" y="6858000"/>
                </a:lnTo>
                <a:lnTo>
                  <a:pt x="1341682" y="0"/>
                </a:lnTo>
                <a:lnTo>
                  <a:pt x="4020265" y="0"/>
                </a:lnTo>
                <a:close/>
              </a:path>
            </a:pathLst>
          </a:custGeom>
          <a:solidFill>
            <a:srgbClr val="00206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85DE6776-8594-49C8-9D5C-536E25490999}"/>
              </a:ext>
            </a:extLst>
          </p:cNvPr>
          <p:cNvSpPr/>
          <p:nvPr userDrawn="1"/>
        </p:nvSpPr>
        <p:spPr>
          <a:xfrm>
            <a:off x="9015484" y="0"/>
            <a:ext cx="3170576" cy="6858000"/>
          </a:xfrm>
          <a:custGeom>
            <a:avLst/>
            <a:gdLst>
              <a:gd name="connsiteX0" fmla="*/ 3170576 w 3170576"/>
              <a:gd name="connsiteY0" fmla="*/ 6858000 h 6858000"/>
              <a:gd name="connsiteX1" fmla="*/ 0 w 3170576"/>
              <a:gd name="connsiteY1" fmla="*/ 6858000 h 6858000"/>
              <a:gd name="connsiteX2" fmla="*/ 1341682 w 3170576"/>
              <a:gd name="connsiteY2" fmla="*/ 0 h 6858000"/>
              <a:gd name="connsiteX3" fmla="*/ 3170576 w 3170576"/>
              <a:gd name="connsiteY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70576" h="6858000">
                <a:moveTo>
                  <a:pt x="3170576" y="6858000"/>
                </a:moveTo>
                <a:lnTo>
                  <a:pt x="0" y="6858000"/>
                </a:lnTo>
                <a:lnTo>
                  <a:pt x="1341682" y="0"/>
                </a:lnTo>
                <a:lnTo>
                  <a:pt x="3170576" y="0"/>
                </a:lnTo>
                <a:close/>
              </a:path>
            </a:pathLst>
          </a:cu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pic>
        <p:nvPicPr>
          <p:cNvPr id="32" name="Picture 31" descr="A jet on the runway&#10;&#10;Description automatically generated">
            <a:extLst>
              <a:ext uri="{FF2B5EF4-FFF2-40B4-BE49-F238E27FC236}">
                <a16:creationId xmlns:a16="http://schemas.microsoft.com/office/drawing/2014/main" id="{9E8CAB02-FA0D-4D08-9AA9-B527FFF1B5F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265982" y="0"/>
            <a:ext cx="3550135" cy="6858000"/>
          </a:xfrm>
          <a:custGeom>
            <a:avLst/>
            <a:gdLst>
              <a:gd name="connsiteX0" fmla="*/ 3550134 w 3550135"/>
              <a:gd name="connsiteY0" fmla="*/ 0 h 6858000"/>
              <a:gd name="connsiteX1" fmla="*/ 3550135 w 3550135"/>
              <a:gd name="connsiteY1" fmla="*/ 0 h 6858000"/>
              <a:gd name="connsiteX2" fmla="*/ 3550135 w 3550135"/>
              <a:gd name="connsiteY2" fmla="*/ 6858000 h 6858000"/>
              <a:gd name="connsiteX3" fmla="*/ 3550134 w 3550135"/>
              <a:gd name="connsiteY3" fmla="*/ 6858000 h 6858000"/>
              <a:gd name="connsiteX4" fmla="*/ 1338015 w 3550135"/>
              <a:gd name="connsiteY4" fmla="*/ 0 h 6858000"/>
              <a:gd name="connsiteX5" fmla="*/ 2926020 w 3550135"/>
              <a:gd name="connsiteY5" fmla="*/ 0 h 6858000"/>
              <a:gd name="connsiteX6" fmla="*/ 2926020 w 3550135"/>
              <a:gd name="connsiteY6" fmla="*/ 6858000 h 6858000"/>
              <a:gd name="connsiteX7" fmla="*/ 0 w 3550135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50135" h="6858000">
                <a:moveTo>
                  <a:pt x="3550134" y="0"/>
                </a:moveTo>
                <a:lnTo>
                  <a:pt x="3550135" y="0"/>
                </a:lnTo>
                <a:lnTo>
                  <a:pt x="3550135" y="6858000"/>
                </a:lnTo>
                <a:lnTo>
                  <a:pt x="3550134" y="6858000"/>
                </a:lnTo>
                <a:close/>
                <a:moveTo>
                  <a:pt x="1338015" y="0"/>
                </a:moveTo>
                <a:lnTo>
                  <a:pt x="2926020" y="0"/>
                </a:lnTo>
                <a:lnTo>
                  <a:pt x="2926020" y="6858000"/>
                </a:lnTo>
                <a:lnTo>
                  <a:pt x="0" y="68580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882600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shes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EC46368-07B6-4292-9919-DC0C5FF1DB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8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C46368-07B6-4292-9919-DC0C5FF1DB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913E0C66-A4AB-4714-AA8F-AEAFFCA1EFD7}"/>
              </a:ext>
            </a:extLst>
          </p:cNvPr>
          <p:cNvSpPr/>
          <p:nvPr userDrawn="1"/>
        </p:nvSpPr>
        <p:spPr>
          <a:xfrm flipV="1">
            <a:off x="6931584" y="5867400"/>
            <a:ext cx="1120598" cy="990600"/>
          </a:xfrm>
          <a:prstGeom prst="triangle">
            <a:avLst/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672BBDA5-F3E1-4A61-B7D8-69AA04CE20FA}"/>
              </a:ext>
            </a:extLst>
          </p:cNvPr>
          <p:cNvSpPr/>
          <p:nvPr userDrawn="1"/>
        </p:nvSpPr>
        <p:spPr>
          <a:xfrm>
            <a:off x="943074" y="0"/>
            <a:ext cx="1120598" cy="990600"/>
          </a:xfrm>
          <a:prstGeom prst="triangle">
            <a:avLst/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00961174-A7E3-49AE-9B55-9450D2D97D16}"/>
              </a:ext>
            </a:extLst>
          </p:cNvPr>
          <p:cNvSpPr/>
          <p:nvPr userDrawn="1"/>
        </p:nvSpPr>
        <p:spPr>
          <a:xfrm>
            <a:off x="127000" y="558800"/>
            <a:ext cx="8775700" cy="5713030"/>
          </a:xfrm>
          <a:prstGeom prst="parallelogram">
            <a:avLst>
              <a:gd name="adj" fmla="val 16775"/>
            </a:avLst>
          </a:prstGeom>
          <a:solidFill>
            <a:schemeClr val="bg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FC35CBE6-0516-4ED0-B35D-894AF25CA79A}"/>
              </a:ext>
            </a:extLst>
          </p:cNvPr>
          <p:cNvSpPr/>
          <p:nvPr userDrawn="1"/>
        </p:nvSpPr>
        <p:spPr>
          <a:xfrm>
            <a:off x="7491884" y="0"/>
            <a:ext cx="4700117" cy="6858000"/>
          </a:xfrm>
          <a:custGeom>
            <a:avLst/>
            <a:gdLst>
              <a:gd name="connsiteX0" fmla="*/ 1341682 w 4700117"/>
              <a:gd name="connsiteY0" fmla="*/ 0 h 6858000"/>
              <a:gd name="connsiteX1" fmla="*/ 4700117 w 4700117"/>
              <a:gd name="connsiteY1" fmla="*/ 0 h 6858000"/>
              <a:gd name="connsiteX2" fmla="*/ 4700117 w 4700117"/>
              <a:gd name="connsiteY2" fmla="*/ 6858000 h 6858000"/>
              <a:gd name="connsiteX3" fmla="*/ 0 w 470011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00117" h="6858000">
                <a:moveTo>
                  <a:pt x="1341682" y="0"/>
                </a:moveTo>
                <a:lnTo>
                  <a:pt x="4700117" y="0"/>
                </a:lnTo>
                <a:lnTo>
                  <a:pt x="4700117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206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6248D0E0-4023-4339-8851-9F55B8330086}"/>
              </a:ext>
            </a:extLst>
          </p:cNvPr>
          <p:cNvSpPr/>
          <p:nvPr userDrawn="1"/>
        </p:nvSpPr>
        <p:spPr>
          <a:xfrm>
            <a:off x="8367898" y="-1"/>
            <a:ext cx="3824102" cy="6858000"/>
          </a:xfrm>
          <a:custGeom>
            <a:avLst/>
            <a:gdLst>
              <a:gd name="connsiteX0" fmla="*/ 1341682 w 3824102"/>
              <a:gd name="connsiteY0" fmla="*/ 0 h 6858000"/>
              <a:gd name="connsiteX1" fmla="*/ 3824102 w 3824102"/>
              <a:gd name="connsiteY1" fmla="*/ 0 h 6858000"/>
              <a:gd name="connsiteX2" fmla="*/ 3824102 w 3824102"/>
              <a:gd name="connsiteY2" fmla="*/ 6858000 h 6858000"/>
              <a:gd name="connsiteX3" fmla="*/ 0 w 382410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24102" h="6858000">
                <a:moveTo>
                  <a:pt x="1341682" y="0"/>
                </a:moveTo>
                <a:lnTo>
                  <a:pt x="3824102" y="0"/>
                </a:lnTo>
                <a:lnTo>
                  <a:pt x="382410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74835CE2-E1D6-4103-9DFC-837846CB9313}"/>
              </a:ext>
            </a:extLst>
          </p:cNvPr>
          <p:cNvSpPr/>
          <p:nvPr userDrawn="1"/>
        </p:nvSpPr>
        <p:spPr>
          <a:xfrm>
            <a:off x="0" y="-1"/>
            <a:ext cx="1503373" cy="6858000"/>
          </a:xfrm>
          <a:custGeom>
            <a:avLst/>
            <a:gdLst>
              <a:gd name="connsiteX0" fmla="*/ 627358 w 1503373"/>
              <a:gd name="connsiteY0" fmla="*/ 0 h 6858000"/>
              <a:gd name="connsiteX1" fmla="*/ 1503373 w 1503373"/>
              <a:gd name="connsiteY1" fmla="*/ 0 h 6858000"/>
              <a:gd name="connsiteX2" fmla="*/ 161691 w 1503373"/>
              <a:gd name="connsiteY2" fmla="*/ 6858000 h 6858000"/>
              <a:gd name="connsiteX3" fmla="*/ 0 w 1503373"/>
              <a:gd name="connsiteY3" fmla="*/ 6858000 h 6858000"/>
              <a:gd name="connsiteX4" fmla="*/ 0 w 1503373"/>
              <a:gd name="connsiteY4" fmla="*/ 320673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3373" h="6858000">
                <a:moveTo>
                  <a:pt x="627358" y="0"/>
                </a:moveTo>
                <a:lnTo>
                  <a:pt x="1503373" y="0"/>
                </a:lnTo>
                <a:lnTo>
                  <a:pt x="161691" y="6858000"/>
                </a:lnTo>
                <a:lnTo>
                  <a:pt x="0" y="6858000"/>
                </a:lnTo>
                <a:lnTo>
                  <a:pt x="0" y="3206737"/>
                </a:lnTo>
                <a:close/>
              </a:path>
            </a:pathLst>
          </a:custGeom>
          <a:solidFill>
            <a:srgbClr val="00206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pic>
        <p:nvPicPr>
          <p:cNvPr id="18" name="Picture 17" descr="A jet on the runway&#10;&#10;Description automatically generated">
            <a:extLst>
              <a:ext uri="{FF2B5EF4-FFF2-40B4-BE49-F238E27FC236}">
                <a16:creationId xmlns:a16="http://schemas.microsoft.com/office/drawing/2014/main" id="{2FDB204D-362F-4431-9379-20A62D937DD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641867" y="0"/>
            <a:ext cx="3550135" cy="6858000"/>
          </a:xfrm>
          <a:custGeom>
            <a:avLst/>
            <a:gdLst>
              <a:gd name="connsiteX0" fmla="*/ 1338015 w 3550135"/>
              <a:gd name="connsiteY0" fmla="*/ 0 h 6858000"/>
              <a:gd name="connsiteX1" fmla="*/ 3550135 w 3550135"/>
              <a:gd name="connsiteY1" fmla="*/ 0 h 6858000"/>
              <a:gd name="connsiteX2" fmla="*/ 3550135 w 3550135"/>
              <a:gd name="connsiteY2" fmla="*/ 6858000 h 6858000"/>
              <a:gd name="connsiteX3" fmla="*/ 0 w 355013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50135" h="6858000">
                <a:moveTo>
                  <a:pt x="1338015" y="0"/>
                </a:moveTo>
                <a:lnTo>
                  <a:pt x="3550135" y="0"/>
                </a:lnTo>
                <a:lnTo>
                  <a:pt x="3550135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AAC260E-813E-4933-A9BD-32385C4EF4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92273" y="914400"/>
            <a:ext cx="6510327" cy="664797"/>
          </a:xfrm>
        </p:spPr>
        <p:txBody>
          <a:bodyPr vert="horz">
            <a:noAutofit/>
          </a:bodyPr>
          <a:lstStyle>
            <a:lvl1pPr>
              <a:defRPr sz="2800"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478447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shes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EC46368-07B6-4292-9919-DC0C5FF1DB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60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C46368-07B6-4292-9919-DC0C5FF1DB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913E0C66-A4AB-4714-AA8F-AEAFFCA1EFD7}"/>
              </a:ext>
            </a:extLst>
          </p:cNvPr>
          <p:cNvSpPr/>
          <p:nvPr userDrawn="1"/>
        </p:nvSpPr>
        <p:spPr>
          <a:xfrm flipV="1">
            <a:off x="6931584" y="5867400"/>
            <a:ext cx="1120598" cy="990600"/>
          </a:xfrm>
          <a:prstGeom prst="triangle">
            <a:avLst/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672BBDA5-F3E1-4A61-B7D8-69AA04CE20FA}"/>
              </a:ext>
            </a:extLst>
          </p:cNvPr>
          <p:cNvSpPr/>
          <p:nvPr userDrawn="1"/>
        </p:nvSpPr>
        <p:spPr>
          <a:xfrm>
            <a:off x="943074" y="0"/>
            <a:ext cx="1120598" cy="990600"/>
          </a:xfrm>
          <a:prstGeom prst="triangle">
            <a:avLst/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00961174-A7E3-49AE-9B55-9450D2D97D16}"/>
              </a:ext>
            </a:extLst>
          </p:cNvPr>
          <p:cNvSpPr/>
          <p:nvPr userDrawn="1"/>
        </p:nvSpPr>
        <p:spPr>
          <a:xfrm>
            <a:off x="127000" y="558800"/>
            <a:ext cx="8775700" cy="5713030"/>
          </a:xfrm>
          <a:prstGeom prst="parallelogram">
            <a:avLst>
              <a:gd name="adj" fmla="val 16775"/>
            </a:avLst>
          </a:prstGeom>
          <a:solidFill>
            <a:schemeClr val="bg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FC35CBE6-0516-4ED0-B35D-894AF25CA79A}"/>
              </a:ext>
            </a:extLst>
          </p:cNvPr>
          <p:cNvSpPr/>
          <p:nvPr userDrawn="1"/>
        </p:nvSpPr>
        <p:spPr>
          <a:xfrm>
            <a:off x="7491884" y="0"/>
            <a:ext cx="4700117" cy="6858000"/>
          </a:xfrm>
          <a:custGeom>
            <a:avLst/>
            <a:gdLst>
              <a:gd name="connsiteX0" fmla="*/ 1341682 w 4700117"/>
              <a:gd name="connsiteY0" fmla="*/ 0 h 6858000"/>
              <a:gd name="connsiteX1" fmla="*/ 4700117 w 4700117"/>
              <a:gd name="connsiteY1" fmla="*/ 0 h 6858000"/>
              <a:gd name="connsiteX2" fmla="*/ 4700117 w 4700117"/>
              <a:gd name="connsiteY2" fmla="*/ 6858000 h 6858000"/>
              <a:gd name="connsiteX3" fmla="*/ 0 w 4700117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00117" h="6858000">
                <a:moveTo>
                  <a:pt x="1341682" y="0"/>
                </a:moveTo>
                <a:lnTo>
                  <a:pt x="4700117" y="0"/>
                </a:lnTo>
                <a:lnTo>
                  <a:pt x="4700117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206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6248D0E0-4023-4339-8851-9F55B8330086}"/>
              </a:ext>
            </a:extLst>
          </p:cNvPr>
          <p:cNvSpPr/>
          <p:nvPr userDrawn="1"/>
        </p:nvSpPr>
        <p:spPr>
          <a:xfrm>
            <a:off x="8367898" y="-1"/>
            <a:ext cx="3824102" cy="6858000"/>
          </a:xfrm>
          <a:custGeom>
            <a:avLst/>
            <a:gdLst>
              <a:gd name="connsiteX0" fmla="*/ 1341682 w 3824102"/>
              <a:gd name="connsiteY0" fmla="*/ 0 h 6858000"/>
              <a:gd name="connsiteX1" fmla="*/ 3824102 w 3824102"/>
              <a:gd name="connsiteY1" fmla="*/ 0 h 6858000"/>
              <a:gd name="connsiteX2" fmla="*/ 3824102 w 3824102"/>
              <a:gd name="connsiteY2" fmla="*/ 6858000 h 6858000"/>
              <a:gd name="connsiteX3" fmla="*/ 0 w 382410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24102" h="6858000">
                <a:moveTo>
                  <a:pt x="1341682" y="0"/>
                </a:moveTo>
                <a:lnTo>
                  <a:pt x="3824102" y="0"/>
                </a:lnTo>
                <a:lnTo>
                  <a:pt x="382410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74835CE2-E1D6-4103-9DFC-837846CB9313}"/>
              </a:ext>
            </a:extLst>
          </p:cNvPr>
          <p:cNvSpPr/>
          <p:nvPr userDrawn="1"/>
        </p:nvSpPr>
        <p:spPr>
          <a:xfrm>
            <a:off x="0" y="-1"/>
            <a:ext cx="1503373" cy="6858000"/>
          </a:xfrm>
          <a:custGeom>
            <a:avLst/>
            <a:gdLst>
              <a:gd name="connsiteX0" fmla="*/ 627358 w 1503373"/>
              <a:gd name="connsiteY0" fmla="*/ 0 h 6858000"/>
              <a:gd name="connsiteX1" fmla="*/ 1503373 w 1503373"/>
              <a:gd name="connsiteY1" fmla="*/ 0 h 6858000"/>
              <a:gd name="connsiteX2" fmla="*/ 161691 w 1503373"/>
              <a:gd name="connsiteY2" fmla="*/ 6858000 h 6858000"/>
              <a:gd name="connsiteX3" fmla="*/ 0 w 1503373"/>
              <a:gd name="connsiteY3" fmla="*/ 6858000 h 6858000"/>
              <a:gd name="connsiteX4" fmla="*/ 0 w 1503373"/>
              <a:gd name="connsiteY4" fmla="*/ 320673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3373" h="6858000">
                <a:moveTo>
                  <a:pt x="627358" y="0"/>
                </a:moveTo>
                <a:lnTo>
                  <a:pt x="1503373" y="0"/>
                </a:lnTo>
                <a:lnTo>
                  <a:pt x="161691" y="6858000"/>
                </a:lnTo>
                <a:lnTo>
                  <a:pt x="0" y="6858000"/>
                </a:lnTo>
                <a:lnTo>
                  <a:pt x="0" y="3206737"/>
                </a:lnTo>
                <a:close/>
              </a:path>
            </a:pathLst>
          </a:custGeom>
          <a:solidFill>
            <a:srgbClr val="00206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pic>
        <p:nvPicPr>
          <p:cNvPr id="19" name="Picture 18" descr="A submarine in the water&#10;&#10;Description automatically generated">
            <a:extLst>
              <a:ext uri="{FF2B5EF4-FFF2-40B4-BE49-F238E27FC236}">
                <a16:creationId xmlns:a16="http://schemas.microsoft.com/office/drawing/2014/main" id="{F244F300-89FA-4585-A537-EBA553E436A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641867" y="0"/>
            <a:ext cx="3550135" cy="6858000"/>
          </a:xfrm>
          <a:custGeom>
            <a:avLst/>
            <a:gdLst>
              <a:gd name="connsiteX0" fmla="*/ 1338015 w 3550135"/>
              <a:gd name="connsiteY0" fmla="*/ 0 h 6858000"/>
              <a:gd name="connsiteX1" fmla="*/ 3550135 w 3550135"/>
              <a:gd name="connsiteY1" fmla="*/ 0 h 6858000"/>
              <a:gd name="connsiteX2" fmla="*/ 3550135 w 3550135"/>
              <a:gd name="connsiteY2" fmla="*/ 6858000 h 6858000"/>
              <a:gd name="connsiteX3" fmla="*/ 0 w 355013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50135" h="6858000">
                <a:moveTo>
                  <a:pt x="1338015" y="0"/>
                </a:moveTo>
                <a:lnTo>
                  <a:pt x="3550135" y="0"/>
                </a:lnTo>
                <a:lnTo>
                  <a:pt x="3550135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AAC260E-813E-4933-A9BD-32385C4EF4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92273" y="914400"/>
            <a:ext cx="6510327" cy="664797"/>
          </a:xfrm>
        </p:spPr>
        <p:txBody>
          <a:bodyPr vert="horz">
            <a:noAutofit/>
          </a:bodyPr>
          <a:lstStyle>
            <a:lvl1pPr>
              <a:defRPr sz="2800"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52963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EC46368-07B6-4292-9919-DC0C5FF1DB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C46368-07B6-4292-9919-DC0C5FF1DB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A jet on the runway&#10;&#10;Description automatically generated">
            <a:extLst>
              <a:ext uri="{FF2B5EF4-FFF2-40B4-BE49-F238E27FC236}">
                <a16:creationId xmlns:a16="http://schemas.microsoft.com/office/drawing/2014/main" id="{7E5BDA4C-5EA6-4ACF-BDF9-9CCAF434462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096600" y="0"/>
            <a:ext cx="6095400" cy="6857995"/>
          </a:xfrm>
          <a:custGeom>
            <a:avLst/>
            <a:gdLst>
              <a:gd name="connsiteX0" fmla="*/ 5 w 6095400"/>
              <a:gd name="connsiteY0" fmla="*/ 0 h 6857995"/>
              <a:gd name="connsiteX1" fmla="*/ 6095400 w 6095400"/>
              <a:gd name="connsiteY1" fmla="*/ 0 h 6857995"/>
              <a:gd name="connsiteX2" fmla="*/ 6095400 w 6095400"/>
              <a:gd name="connsiteY2" fmla="*/ 6857995 h 6857995"/>
              <a:gd name="connsiteX3" fmla="*/ 3 w 6095400"/>
              <a:gd name="connsiteY3" fmla="*/ 6857995 h 6857995"/>
              <a:gd name="connsiteX4" fmla="*/ 1802252 w 6095400"/>
              <a:gd name="connsiteY4" fmla="*/ 3428997 h 6857995"/>
              <a:gd name="connsiteX5" fmla="*/ 0 w 6095400"/>
              <a:gd name="connsiteY5" fmla="*/ 0 h 6857995"/>
              <a:gd name="connsiteX6" fmla="*/ 1 w 6095400"/>
              <a:gd name="connsiteY6" fmla="*/ 0 h 6857995"/>
              <a:gd name="connsiteX7" fmla="*/ 1 w 6095400"/>
              <a:gd name="connsiteY7" fmla="*/ 6857995 h 6857995"/>
              <a:gd name="connsiteX8" fmla="*/ 0 w 6095400"/>
              <a:gd name="connsiteY8" fmla="*/ 6857995 h 685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095400" h="6857995">
                <a:moveTo>
                  <a:pt x="5" y="0"/>
                </a:moveTo>
                <a:lnTo>
                  <a:pt x="6095400" y="0"/>
                </a:lnTo>
                <a:lnTo>
                  <a:pt x="6095400" y="6857995"/>
                </a:lnTo>
                <a:lnTo>
                  <a:pt x="3" y="6857995"/>
                </a:lnTo>
                <a:lnTo>
                  <a:pt x="1802252" y="3428997"/>
                </a:lnTo>
                <a:close/>
                <a:moveTo>
                  <a:pt x="0" y="0"/>
                </a:moveTo>
                <a:lnTo>
                  <a:pt x="1" y="0"/>
                </a:lnTo>
                <a:lnTo>
                  <a:pt x="1" y="6857995"/>
                </a:lnTo>
                <a:lnTo>
                  <a:pt x="0" y="6857995"/>
                </a:lnTo>
                <a:close/>
              </a:path>
            </a:pathLst>
          </a:cu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47C70ED5-CB54-4346-BD25-FCEB66FD9B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5554900" cy="387798"/>
          </a:xfrm>
        </p:spPr>
        <p:txBody>
          <a:bodyPr vert="horz"/>
          <a:lstStyle>
            <a:lvl1pPr>
              <a:defRPr sz="2800"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635038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EC46368-07B6-4292-9919-DC0C5FF1DB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52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C46368-07B6-4292-9919-DC0C5FF1DB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17" descr="A submarine in the water&#10;&#10;Description automatically generated">
            <a:extLst>
              <a:ext uri="{FF2B5EF4-FFF2-40B4-BE49-F238E27FC236}">
                <a16:creationId xmlns:a16="http://schemas.microsoft.com/office/drawing/2014/main" id="{0740CA02-49FB-405A-BC09-129C06F4987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096600" y="0"/>
            <a:ext cx="6095400" cy="6857995"/>
          </a:xfrm>
          <a:custGeom>
            <a:avLst/>
            <a:gdLst>
              <a:gd name="connsiteX0" fmla="*/ 5 w 6095400"/>
              <a:gd name="connsiteY0" fmla="*/ 0 h 6857995"/>
              <a:gd name="connsiteX1" fmla="*/ 6095400 w 6095400"/>
              <a:gd name="connsiteY1" fmla="*/ 0 h 6857995"/>
              <a:gd name="connsiteX2" fmla="*/ 6095400 w 6095400"/>
              <a:gd name="connsiteY2" fmla="*/ 6857995 h 6857995"/>
              <a:gd name="connsiteX3" fmla="*/ 3 w 6095400"/>
              <a:gd name="connsiteY3" fmla="*/ 6857995 h 6857995"/>
              <a:gd name="connsiteX4" fmla="*/ 1802252 w 6095400"/>
              <a:gd name="connsiteY4" fmla="*/ 3428997 h 6857995"/>
              <a:gd name="connsiteX5" fmla="*/ 0 w 6095400"/>
              <a:gd name="connsiteY5" fmla="*/ 0 h 6857995"/>
              <a:gd name="connsiteX6" fmla="*/ 1 w 6095400"/>
              <a:gd name="connsiteY6" fmla="*/ 0 h 6857995"/>
              <a:gd name="connsiteX7" fmla="*/ 1 w 6095400"/>
              <a:gd name="connsiteY7" fmla="*/ 6857995 h 6857995"/>
              <a:gd name="connsiteX8" fmla="*/ 0 w 6095400"/>
              <a:gd name="connsiteY8" fmla="*/ 6857995 h 685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095400" h="6857995">
                <a:moveTo>
                  <a:pt x="5" y="0"/>
                </a:moveTo>
                <a:lnTo>
                  <a:pt x="6095400" y="0"/>
                </a:lnTo>
                <a:lnTo>
                  <a:pt x="6095400" y="6857995"/>
                </a:lnTo>
                <a:lnTo>
                  <a:pt x="3" y="6857995"/>
                </a:lnTo>
                <a:lnTo>
                  <a:pt x="1802252" y="3428997"/>
                </a:lnTo>
                <a:close/>
                <a:moveTo>
                  <a:pt x="0" y="0"/>
                </a:moveTo>
                <a:lnTo>
                  <a:pt x="1" y="0"/>
                </a:lnTo>
                <a:lnTo>
                  <a:pt x="1" y="6857995"/>
                </a:lnTo>
                <a:lnTo>
                  <a:pt x="0" y="6857995"/>
                </a:lnTo>
                <a:close/>
              </a:path>
            </a:pathLst>
          </a:custGeom>
        </p:spPr>
      </p:pic>
      <p:sp>
        <p:nvSpPr>
          <p:cNvPr id="20" name="Title 4">
            <a:extLst>
              <a:ext uri="{FF2B5EF4-FFF2-40B4-BE49-F238E27FC236}">
                <a16:creationId xmlns:a16="http://schemas.microsoft.com/office/drawing/2014/main" id="{985CA334-5EDC-431E-9283-C30F3E02CF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5554900" cy="387798"/>
          </a:xfrm>
        </p:spPr>
        <p:txBody>
          <a:bodyPr vert="horz"/>
          <a:lstStyle>
            <a:lvl1pPr>
              <a:defRPr sz="2800"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482734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ce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EC46368-07B6-4292-9919-DC0C5FF1DB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7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C46368-07B6-4292-9919-DC0C5FF1DB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 descr="A group of boats in the water&#10;&#10;Description automatically generated">
            <a:extLst>
              <a:ext uri="{FF2B5EF4-FFF2-40B4-BE49-F238E27FC236}">
                <a16:creationId xmlns:a16="http://schemas.microsoft.com/office/drawing/2014/main" id="{B541E7C2-AD04-4E0F-9073-234B3733236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324600" y="0"/>
            <a:ext cx="5867400" cy="6858000"/>
          </a:xfrm>
          <a:custGeom>
            <a:avLst/>
            <a:gdLst>
              <a:gd name="connsiteX0" fmla="*/ 4143398 w 5867400"/>
              <a:gd name="connsiteY0" fmla="*/ 0 h 6858000"/>
              <a:gd name="connsiteX1" fmla="*/ 5867400 w 5867400"/>
              <a:gd name="connsiteY1" fmla="*/ 0 h 6858000"/>
              <a:gd name="connsiteX2" fmla="*/ 5867400 w 5867400"/>
              <a:gd name="connsiteY2" fmla="*/ 4020185 h 6858000"/>
              <a:gd name="connsiteX3" fmla="*/ 4152877 w 5867400"/>
              <a:gd name="connsiteY3" fmla="*/ 6858000 h 6858000"/>
              <a:gd name="connsiteX4" fmla="*/ 0 w 586740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67400" h="6858000">
                <a:moveTo>
                  <a:pt x="4143398" y="0"/>
                </a:moveTo>
                <a:lnTo>
                  <a:pt x="5867400" y="0"/>
                </a:lnTo>
                <a:lnTo>
                  <a:pt x="5867400" y="4020185"/>
                </a:lnTo>
                <a:lnTo>
                  <a:pt x="4152877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0" name="Title 4">
            <a:extLst>
              <a:ext uri="{FF2B5EF4-FFF2-40B4-BE49-F238E27FC236}">
                <a16:creationId xmlns:a16="http://schemas.microsoft.com/office/drawing/2014/main" id="{5BF4BF14-ED7B-463F-A5EF-5C54749085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755300" cy="387798"/>
          </a:xfrm>
        </p:spPr>
        <p:txBody>
          <a:bodyPr vert="horz"/>
          <a:lstStyle>
            <a:lvl1pPr>
              <a:defRPr sz="2800"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16265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245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rcle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EC46368-07B6-4292-9919-DC0C5FF1DB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70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C46368-07B6-4292-9919-DC0C5FF1DB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17" descr="A submarine in the water&#10;&#10;Description automatically generated">
            <a:extLst>
              <a:ext uri="{FF2B5EF4-FFF2-40B4-BE49-F238E27FC236}">
                <a16:creationId xmlns:a16="http://schemas.microsoft.com/office/drawing/2014/main" id="{5EB61DEA-24E8-4679-A8AA-6AAD254BB1C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" y="0"/>
            <a:ext cx="5372097" cy="6858000"/>
          </a:xfrm>
          <a:custGeom>
            <a:avLst/>
            <a:gdLst>
              <a:gd name="connsiteX0" fmla="*/ 0 w 5372097"/>
              <a:gd name="connsiteY0" fmla="*/ 0 h 6858000"/>
              <a:gd name="connsiteX1" fmla="*/ 446343 w 5372097"/>
              <a:gd name="connsiteY1" fmla="*/ 0 h 6858000"/>
              <a:gd name="connsiteX2" fmla="*/ 1517320 w 5372097"/>
              <a:gd name="connsiteY2" fmla="*/ 0 h 6858000"/>
              <a:gd name="connsiteX3" fmla="*/ 5372097 w 5372097"/>
              <a:gd name="connsiteY3" fmla="*/ 0 h 6858000"/>
              <a:gd name="connsiteX4" fmla="*/ 5372097 w 5372097"/>
              <a:gd name="connsiteY4" fmla="*/ 5787 h 6858000"/>
              <a:gd name="connsiteX5" fmla="*/ 5278311 w 5372097"/>
              <a:gd name="connsiteY5" fmla="*/ 87027 h 6858000"/>
              <a:gd name="connsiteX6" fmla="*/ 3799144 w 5372097"/>
              <a:gd name="connsiteY6" fmla="*/ 3429000 h 6858000"/>
              <a:gd name="connsiteX7" fmla="*/ 5278311 w 5372097"/>
              <a:gd name="connsiteY7" fmla="*/ 6770974 h 6858000"/>
              <a:gd name="connsiteX8" fmla="*/ 5372097 w 5372097"/>
              <a:gd name="connsiteY8" fmla="*/ 6852214 h 6858000"/>
              <a:gd name="connsiteX9" fmla="*/ 5372097 w 5372097"/>
              <a:gd name="connsiteY9" fmla="*/ 6858000 h 6858000"/>
              <a:gd name="connsiteX10" fmla="*/ 1517320 w 5372097"/>
              <a:gd name="connsiteY10" fmla="*/ 6858000 h 6858000"/>
              <a:gd name="connsiteX11" fmla="*/ 446343 w 5372097"/>
              <a:gd name="connsiteY11" fmla="*/ 6858000 h 6858000"/>
              <a:gd name="connsiteX12" fmla="*/ 0 w 5372097"/>
              <a:gd name="connsiteY1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372097" h="6858000">
                <a:moveTo>
                  <a:pt x="0" y="0"/>
                </a:moveTo>
                <a:lnTo>
                  <a:pt x="446343" y="0"/>
                </a:lnTo>
                <a:lnTo>
                  <a:pt x="1517320" y="0"/>
                </a:lnTo>
                <a:lnTo>
                  <a:pt x="5372097" y="0"/>
                </a:lnTo>
                <a:lnTo>
                  <a:pt x="5372097" y="5787"/>
                </a:lnTo>
                <a:lnTo>
                  <a:pt x="5278311" y="87027"/>
                </a:lnTo>
                <a:cubicBezTo>
                  <a:pt x="4369628" y="912918"/>
                  <a:pt x="3799144" y="2104337"/>
                  <a:pt x="3799144" y="3429000"/>
                </a:cubicBezTo>
                <a:cubicBezTo>
                  <a:pt x="3799144" y="4753663"/>
                  <a:pt x="4369628" y="5945082"/>
                  <a:pt x="5278311" y="6770974"/>
                </a:cubicBezTo>
                <a:lnTo>
                  <a:pt x="5372097" y="6852214"/>
                </a:lnTo>
                <a:lnTo>
                  <a:pt x="5372097" y="6858000"/>
                </a:lnTo>
                <a:lnTo>
                  <a:pt x="1517320" y="6858000"/>
                </a:lnTo>
                <a:lnTo>
                  <a:pt x="44634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6E6E6"/>
          </a:solidFill>
        </p:spPr>
      </p:pic>
      <p:sp>
        <p:nvSpPr>
          <p:cNvPr id="20" name="Title 4">
            <a:extLst>
              <a:ext uri="{FF2B5EF4-FFF2-40B4-BE49-F238E27FC236}">
                <a16:creationId xmlns:a16="http://schemas.microsoft.com/office/drawing/2014/main" id="{AC30ECCD-559E-4B4A-AAFA-43D9796A02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68900" y="622800"/>
            <a:ext cx="6394449" cy="387798"/>
          </a:xfrm>
        </p:spPr>
        <p:txBody>
          <a:bodyPr vert="horz"/>
          <a:lstStyle>
            <a:lvl1pPr>
              <a:defRPr sz="2800"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463691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37521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CC7401F-4058-4F8F-A069-1174F611DE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21" t="21408" r="7529" b="16546"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355115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6372C936-331C-4E91-B4C2-B2EF3CA9B6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21" t="21408" r="7529" b="16546"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087946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EF56FD0-B795-4894-96B2-F6CC89284A22}"/>
              </a:ext>
            </a:extLst>
          </p:cNvPr>
          <p:cNvSpPr/>
          <p:nvPr userDrawn="1"/>
        </p:nvSpPr>
        <p:spPr>
          <a:xfrm>
            <a:off x="3933172" y="0"/>
            <a:ext cx="146335" cy="6858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5765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25A2869-F750-4C71-A0C2-19B44CC33F80}"/>
              </a:ext>
            </a:extLst>
          </p:cNvPr>
          <p:cNvSpPr/>
          <p:nvPr userDrawn="1"/>
        </p:nvSpPr>
        <p:spPr>
          <a:xfrm>
            <a:off x="7025621" y="0"/>
            <a:ext cx="146335" cy="6858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6551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AF8C894-FEF6-4806-96A1-F119CE4DEE9C}"/>
              </a:ext>
            </a:extLst>
          </p:cNvPr>
          <p:cNvSpPr/>
          <p:nvPr userDrawn="1"/>
        </p:nvSpPr>
        <p:spPr>
          <a:xfrm>
            <a:off x="4080763" y="0"/>
            <a:ext cx="146335" cy="6858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03C8AD0-99E3-4A27-A86E-5737264EEA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21" t="21408" r="7529" b="16546"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75009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238356" y="0"/>
            <a:ext cx="5953642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1D268EC-1C83-4C97-95AC-9609A6CD9C33}"/>
              </a:ext>
            </a:extLst>
          </p:cNvPr>
          <p:cNvSpPr/>
          <p:nvPr userDrawn="1"/>
        </p:nvSpPr>
        <p:spPr>
          <a:xfrm>
            <a:off x="6092021" y="0"/>
            <a:ext cx="146335" cy="6858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8AE17EA-00A5-4522-8ACE-161D62BB8B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21" t="21408" r="7529" b="16546"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487816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966360" y="0"/>
            <a:ext cx="422564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84B75C0-0610-46A3-A307-B72053F56232}"/>
              </a:ext>
            </a:extLst>
          </p:cNvPr>
          <p:cNvSpPr/>
          <p:nvPr userDrawn="1"/>
        </p:nvSpPr>
        <p:spPr>
          <a:xfrm>
            <a:off x="7820025" y="0"/>
            <a:ext cx="146335" cy="6858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F13537D-016F-4E66-9CC9-7A33FADD0A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21" t="21408" r="7529" b="16546"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885268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1CCB5F3-9D53-43A8-95E5-3C54BACCCD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2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CCB5F3-9D53-43A8-95E5-3C54BACCCD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reeform 14">
            <a:extLst>
              <a:ext uri="{FF2B5EF4-FFF2-40B4-BE49-F238E27FC236}">
                <a16:creationId xmlns:a16="http://schemas.microsoft.com/office/drawing/2014/main" id="{63C5C522-BC54-4A94-A3E1-B1DCAEB1D1EC}"/>
              </a:ext>
            </a:extLst>
          </p:cNvPr>
          <p:cNvSpPr/>
          <p:nvPr userDrawn="1"/>
        </p:nvSpPr>
        <p:spPr bwMode="ltGray">
          <a:xfrm>
            <a:off x="1539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82605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9329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93859C3-75CF-4A8C-AC61-D96596CCD2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4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3859C3-75CF-4A8C-AC61-D96596CCD2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>
            <a:extLst>
              <a:ext uri="{FF2B5EF4-FFF2-40B4-BE49-F238E27FC236}">
                <a16:creationId xmlns:a16="http://schemas.microsoft.com/office/drawing/2014/main" id="{9A903735-A36F-4200-A9C3-E366FEE9C602}"/>
              </a:ext>
            </a:extLst>
          </p:cNvPr>
          <p:cNvSpPr/>
          <p:nvPr userDrawn="1"/>
        </p:nvSpPr>
        <p:spPr bwMode="ltGray">
          <a:xfrm>
            <a:off x="1539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C24E8FE-DF74-4D07-A05D-1FBA4EA228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21" t="21408" r="7529" b="16546"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754859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72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entagon 3">
            <a:extLst>
              <a:ext uri="{FF2B5EF4-FFF2-40B4-BE49-F238E27FC236}">
                <a16:creationId xmlns:a16="http://schemas.microsoft.com/office/drawing/2014/main" id="{ABC09DB5-D40C-4B55-A396-E8FEA57A2B1B}"/>
              </a:ext>
            </a:extLst>
          </p:cNvPr>
          <p:cNvSpPr/>
          <p:nvPr userDrawn="1"/>
        </p:nvSpPr>
        <p:spPr bwMode="white">
          <a:xfrm>
            <a:off x="15240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14882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56CFA9C-9CF7-4C62-BA2E-7B7642DFD6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9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6CFA9C-9CF7-4C62-BA2E-7B7642DFD6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entagon 3">
            <a:extLst>
              <a:ext uri="{FF2B5EF4-FFF2-40B4-BE49-F238E27FC236}">
                <a16:creationId xmlns:a16="http://schemas.microsoft.com/office/drawing/2014/main" id="{4FBB4119-E7AC-4BF0-BED9-FC1BA7F433A3}"/>
              </a:ext>
            </a:extLst>
          </p:cNvPr>
          <p:cNvSpPr/>
          <p:nvPr userDrawn="1"/>
        </p:nvSpPr>
        <p:spPr bwMode="white">
          <a:xfrm>
            <a:off x="15240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DCD0947-ECD5-41D5-A9A7-0B9DAF2F52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21" t="21408" r="7529" b="16546"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717703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734DFB9-752F-43AB-AEA7-166D7C5737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2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34DFB9-752F-43AB-AEA7-166D7C5737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entagon 8">
            <a:extLst>
              <a:ext uri="{FF2B5EF4-FFF2-40B4-BE49-F238E27FC236}">
                <a16:creationId xmlns:a16="http://schemas.microsoft.com/office/drawing/2014/main" id="{923426FA-B0BD-4BEA-AC60-8708745552AC}"/>
              </a:ext>
            </a:extLst>
          </p:cNvPr>
          <p:cNvSpPr/>
          <p:nvPr userDrawn="1"/>
        </p:nvSpPr>
        <p:spPr bwMode="white">
          <a:xfrm>
            <a:off x="15240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42992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20FA45D-B032-4C8B-9D8B-85674CA24D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4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0FA45D-B032-4C8B-9D8B-85674CA24D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entagon 8">
            <a:extLst>
              <a:ext uri="{FF2B5EF4-FFF2-40B4-BE49-F238E27FC236}">
                <a16:creationId xmlns:a16="http://schemas.microsoft.com/office/drawing/2014/main" id="{7039684E-53DF-4126-B736-84B73F73426A}"/>
              </a:ext>
            </a:extLst>
          </p:cNvPr>
          <p:cNvSpPr/>
          <p:nvPr userDrawn="1"/>
        </p:nvSpPr>
        <p:spPr bwMode="white">
          <a:xfrm>
            <a:off x="15240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CF2995C-2AFD-4104-ACC9-2379C0459B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21" t="21408" r="7529" b="16546"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884434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75DE940-2C1B-44FB-A247-8271EA6A2E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5DE940-2C1B-44FB-A247-8271EA6A2E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8">
            <a:extLst>
              <a:ext uri="{FF2B5EF4-FFF2-40B4-BE49-F238E27FC236}">
                <a16:creationId xmlns:a16="http://schemas.microsoft.com/office/drawing/2014/main" id="{70E8474E-D7BD-41CE-B602-7E55BCDB9F4C}"/>
              </a:ext>
            </a:extLst>
          </p:cNvPr>
          <p:cNvSpPr/>
          <p:nvPr userDrawn="1"/>
        </p:nvSpPr>
        <p:spPr bwMode="white">
          <a:xfrm>
            <a:off x="15240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95310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917A4FA-7303-47E1-A27B-B590DF071D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92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17A4FA-7303-47E1-A27B-B590DF071D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8">
            <a:extLst>
              <a:ext uri="{FF2B5EF4-FFF2-40B4-BE49-F238E27FC236}">
                <a16:creationId xmlns:a16="http://schemas.microsoft.com/office/drawing/2014/main" id="{DB4AD4F7-CD0F-41E0-8348-4BECE621FC80}"/>
              </a:ext>
            </a:extLst>
          </p:cNvPr>
          <p:cNvSpPr/>
          <p:nvPr userDrawn="1"/>
        </p:nvSpPr>
        <p:spPr bwMode="white">
          <a:xfrm>
            <a:off x="15240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B18AC3B-A3A5-4F48-9C3C-6A4834D5C3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21" t="21408" r="7529" b="16546"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497180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D6C4320-7DDE-4808-807B-7A3290EA1C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21" t="21408" r="7529" b="16546"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190695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326169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16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7C7961A-7105-4805-B2B5-32E6602ED2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21" t="21408" r="7529" b="16546"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258320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7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solidFill>
            <a:srgbClr val="1228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83" t="16586" r="8083" b="15308"/>
          <a:stretch/>
        </p:blipFill>
        <p:spPr>
          <a:xfrm>
            <a:off x="3163959" y="2667000"/>
            <a:ext cx="3059154" cy="1448000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724559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52660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14853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611E8F1-3F58-4B19-AF36-36FC3D3EDC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21" t="21408" r="7529" b="16546"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393219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40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A submarine in the water&#10;&#10;Description automatically generated">
            <a:extLst>
              <a:ext uri="{FF2B5EF4-FFF2-40B4-BE49-F238E27FC236}">
                <a16:creationId xmlns:a16="http://schemas.microsoft.com/office/drawing/2014/main" id="{B106B717-D47A-4A4A-A7B8-263F4CD403A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470151" y="0"/>
            <a:ext cx="8296275" cy="6858000"/>
          </a:xfrm>
          <a:custGeom>
            <a:avLst/>
            <a:gdLst>
              <a:gd name="connsiteX0" fmla="*/ 4143399 w 8296275"/>
              <a:gd name="connsiteY0" fmla="*/ 0 h 6858000"/>
              <a:gd name="connsiteX1" fmla="*/ 8296275 w 8296275"/>
              <a:gd name="connsiteY1" fmla="*/ 0 h 6858000"/>
              <a:gd name="connsiteX2" fmla="*/ 4152877 w 8296275"/>
              <a:gd name="connsiteY2" fmla="*/ 6858000 h 6858000"/>
              <a:gd name="connsiteX3" fmla="*/ 0 w 829627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96275" h="6858000">
                <a:moveTo>
                  <a:pt x="4143399" y="0"/>
                </a:moveTo>
                <a:lnTo>
                  <a:pt x="8296275" y="0"/>
                </a:lnTo>
                <a:lnTo>
                  <a:pt x="4152877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11" name="Picture 10" descr="A group of boats in the water&#10;&#10;Description automatically generated">
            <a:extLst>
              <a:ext uri="{FF2B5EF4-FFF2-40B4-BE49-F238E27FC236}">
                <a16:creationId xmlns:a16="http://schemas.microsoft.com/office/drawing/2014/main" id="{B8033BA3-B3E1-482F-834F-75C6664BC04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756400" y="0"/>
            <a:ext cx="5435600" cy="6858000"/>
          </a:xfrm>
          <a:custGeom>
            <a:avLst/>
            <a:gdLst>
              <a:gd name="connsiteX0" fmla="*/ 4143398 w 5435600"/>
              <a:gd name="connsiteY0" fmla="*/ 0 h 6858000"/>
              <a:gd name="connsiteX1" fmla="*/ 5435600 w 5435600"/>
              <a:gd name="connsiteY1" fmla="*/ 0 h 6858000"/>
              <a:gd name="connsiteX2" fmla="*/ 5435600 w 5435600"/>
              <a:gd name="connsiteY2" fmla="*/ 4734885 h 6858000"/>
              <a:gd name="connsiteX3" fmla="*/ 4152877 w 5435600"/>
              <a:gd name="connsiteY3" fmla="*/ 6858000 h 6858000"/>
              <a:gd name="connsiteX4" fmla="*/ 0 w 543560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35600" h="6858000">
                <a:moveTo>
                  <a:pt x="4143398" y="0"/>
                </a:moveTo>
                <a:lnTo>
                  <a:pt x="5435600" y="0"/>
                </a:lnTo>
                <a:lnTo>
                  <a:pt x="5435600" y="4734885"/>
                </a:lnTo>
                <a:lnTo>
                  <a:pt x="4152877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CF425B38-13D0-4FBF-8800-F67841ACA5D2}"/>
              </a:ext>
            </a:extLst>
          </p:cNvPr>
          <p:cNvSpPr/>
          <p:nvPr userDrawn="1"/>
        </p:nvSpPr>
        <p:spPr>
          <a:xfrm flipH="1">
            <a:off x="11042650" y="4940109"/>
            <a:ext cx="1149350" cy="1917892"/>
          </a:xfrm>
          <a:custGeom>
            <a:avLst/>
            <a:gdLst>
              <a:gd name="connsiteX0" fmla="*/ 0 w 1149350"/>
              <a:gd name="connsiteY0" fmla="*/ 0 h 1917892"/>
              <a:gd name="connsiteX1" fmla="*/ 0 w 1149350"/>
              <a:gd name="connsiteY1" fmla="*/ 1917892 h 1917892"/>
              <a:gd name="connsiteX2" fmla="*/ 1149350 w 1149350"/>
              <a:gd name="connsiteY2" fmla="*/ 1917892 h 1917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49350" h="1917892">
                <a:moveTo>
                  <a:pt x="0" y="0"/>
                </a:moveTo>
                <a:lnTo>
                  <a:pt x="0" y="1917892"/>
                </a:lnTo>
                <a:lnTo>
                  <a:pt x="1149350" y="1917892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939D5204-2FF7-441D-AFCB-4832874B756C}"/>
              </a:ext>
            </a:extLst>
          </p:cNvPr>
          <p:cNvSpPr/>
          <p:nvPr userDrawn="1"/>
        </p:nvSpPr>
        <p:spPr>
          <a:xfrm rot="18065892">
            <a:off x="219788" y="3308763"/>
            <a:ext cx="8154085" cy="240475"/>
          </a:xfrm>
          <a:custGeom>
            <a:avLst/>
            <a:gdLst>
              <a:gd name="connsiteX0" fmla="*/ 8075701 w 8154085"/>
              <a:gd name="connsiteY0" fmla="*/ 110526 h 240475"/>
              <a:gd name="connsiteX1" fmla="*/ 8154085 w 8154085"/>
              <a:gd name="connsiteY1" fmla="*/ 240475 h 240475"/>
              <a:gd name="connsiteX2" fmla="*/ 460570 w 8154085"/>
              <a:gd name="connsiteY2" fmla="*/ 240475 h 240475"/>
              <a:gd name="connsiteX3" fmla="*/ 460570 w 8154085"/>
              <a:gd name="connsiteY3" fmla="*/ 236024 h 240475"/>
              <a:gd name="connsiteX4" fmla="*/ 142369 w 8154085"/>
              <a:gd name="connsiteY4" fmla="*/ 236024 h 240475"/>
              <a:gd name="connsiteX5" fmla="*/ 0 w 8154085"/>
              <a:gd name="connsiteY5" fmla="*/ 0 h 240475"/>
              <a:gd name="connsiteX6" fmla="*/ 2860898 w 8154085"/>
              <a:gd name="connsiteY6" fmla="*/ 0 h 240475"/>
              <a:gd name="connsiteX7" fmla="*/ 2971423 w 8154085"/>
              <a:gd name="connsiteY7" fmla="*/ 110526 h 240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154085" h="240475">
                <a:moveTo>
                  <a:pt x="8075701" y="110526"/>
                </a:moveTo>
                <a:lnTo>
                  <a:pt x="8154085" y="240475"/>
                </a:lnTo>
                <a:lnTo>
                  <a:pt x="460570" y="240475"/>
                </a:lnTo>
                <a:lnTo>
                  <a:pt x="460570" y="236024"/>
                </a:lnTo>
                <a:lnTo>
                  <a:pt x="142369" y="236024"/>
                </a:lnTo>
                <a:lnTo>
                  <a:pt x="0" y="0"/>
                </a:lnTo>
                <a:lnTo>
                  <a:pt x="2860898" y="0"/>
                </a:lnTo>
                <a:lnTo>
                  <a:pt x="2971423" y="110526"/>
                </a:lnTo>
                <a:close/>
              </a:path>
            </a:pathLst>
          </a:cu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33467D31-1095-4AB9-9898-BC92F7CE9D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21" t="21408" r="7529" b="16546"/>
          <a:stretch/>
        </p:blipFill>
        <p:spPr>
          <a:xfrm>
            <a:off x="7752629" y="5523251"/>
            <a:ext cx="2656609" cy="1149494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494D191-20E1-4706-B9D4-C3D586DC94E6}"/>
              </a:ext>
            </a:extLst>
          </p:cNvPr>
          <p:cNvSpPr txBox="1"/>
          <p:nvPr userDrawn="1"/>
        </p:nvSpPr>
        <p:spPr>
          <a:xfrm>
            <a:off x="629999" y="1033251"/>
            <a:ext cx="4262040" cy="9144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vert="horz" wrap="square" lIns="0" tIns="0" rIns="0" bIns="0" rtlCol="0" anchor="b">
            <a:noAutofit/>
          </a:bodyPr>
          <a:lstStyle>
            <a:lvl1pPr>
              <a:lnSpc>
                <a:spcPct val="93000"/>
              </a:lnSpc>
              <a:spcBef>
                <a:spcPct val="0"/>
              </a:spcBef>
              <a:buNone/>
              <a:defRPr sz="44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3472747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20993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64E57D4-EB1B-4341-A28C-995F3CF07F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6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4E57D4-EB1B-4341-A28C-995F3CF07F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2686050" y="663141"/>
            <a:ext cx="8877300" cy="387798"/>
          </a:xfrm>
        </p:spPr>
        <p:txBody>
          <a:bodyPr vert="horz" anchor="ctr"/>
          <a:lstStyle>
            <a:lvl1pPr>
              <a:defRPr sz="2800"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18EA3FF-4774-41C2-9794-9F8088714AC1}"/>
              </a:ext>
            </a:extLst>
          </p:cNvPr>
          <p:cNvGrpSpPr/>
          <p:nvPr userDrawn="1"/>
        </p:nvGrpSpPr>
        <p:grpSpPr>
          <a:xfrm>
            <a:off x="423198" y="-2418"/>
            <a:ext cx="1993900" cy="1718915"/>
            <a:chOff x="423198" y="-2418"/>
            <a:chExt cx="1993900" cy="1718915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1F03FDE-0993-4AD6-B378-82EF0BA8E875}"/>
                </a:ext>
              </a:extLst>
            </p:cNvPr>
            <p:cNvSpPr/>
            <p:nvPr/>
          </p:nvSpPr>
          <p:spPr>
            <a:xfrm>
              <a:off x="629399" y="-2418"/>
              <a:ext cx="1581497" cy="1718915"/>
            </a:xfrm>
            <a:prstGeom prst="rect">
              <a:avLst/>
            </a:prstGeom>
            <a:solidFill>
              <a:srgbClr val="3599DB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0AF5C3F-5117-4A93-A790-D78316180FE1}"/>
                </a:ext>
              </a:extLst>
            </p:cNvPr>
            <p:cNvSpPr/>
            <p:nvPr/>
          </p:nvSpPr>
          <p:spPr>
            <a:xfrm>
              <a:off x="423198" y="188777"/>
              <a:ext cx="1993900" cy="1338943"/>
            </a:xfrm>
            <a:prstGeom prst="rect">
              <a:avLst/>
            </a:prstGeom>
            <a:solidFill>
              <a:schemeClr val="tx2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88866C24-07FA-4E7C-8887-808BD6920E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clrChange>
                <a:clrFrom>
                  <a:srgbClr val="12284B"/>
                </a:clrFrom>
                <a:clrTo>
                  <a:srgbClr val="12284B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921" t="21408" r="7529" b="16546"/>
            <a:stretch/>
          </p:blipFill>
          <p:spPr>
            <a:xfrm>
              <a:off x="546578" y="480263"/>
              <a:ext cx="1747140" cy="755972"/>
            </a:xfrm>
            <a:custGeom>
              <a:avLst/>
              <a:gdLst>
                <a:gd name="connsiteX0" fmla="*/ 0 w 3649041"/>
                <a:gd name="connsiteY0" fmla="*/ 0 h 2098956"/>
                <a:gd name="connsiteX1" fmla="*/ 3649041 w 3649041"/>
                <a:gd name="connsiteY1" fmla="*/ 0 h 2098956"/>
                <a:gd name="connsiteX2" fmla="*/ 3649041 w 3649041"/>
                <a:gd name="connsiteY2" fmla="*/ 2098956 h 2098956"/>
                <a:gd name="connsiteX3" fmla="*/ 0 w 3649041"/>
                <a:gd name="connsiteY3" fmla="*/ 2098956 h 2098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49041" h="2098956">
                  <a:moveTo>
                    <a:pt x="0" y="0"/>
                  </a:moveTo>
                  <a:lnTo>
                    <a:pt x="3649041" y="0"/>
                  </a:lnTo>
                  <a:lnTo>
                    <a:pt x="3649041" y="2098956"/>
                  </a:lnTo>
                  <a:lnTo>
                    <a:pt x="0" y="2098956"/>
                  </a:lnTo>
                  <a:close/>
                </a:path>
              </a:pathLst>
            </a:custGeom>
          </p:spPr>
        </p:pic>
      </p:grpSp>
    </p:spTree>
    <p:extLst>
      <p:ext uri="{BB962C8B-B14F-4D97-AF65-F5344CB8AC3E}">
        <p14:creationId xmlns:p14="http://schemas.microsoft.com/office/powerpoint/2010/main" val="3259769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740310F-9AC8-408A-AC70-F21D1809E8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98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40310F-9AC8-408A-AC70-F21D1809E8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7" name="Title 7">
            <a:extLst>
              <a:ext uri="{FF2B5EF4-FFF2-40B4-BE49-F238E27FC236}">
                <a16:creationId xmlns:a16="http://schemas.microsoft.com/office/drawing/2014/main" id="{F6BF07A0-74DD-4CCC-BEEC-9D54C97F06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6050" y="663141"/>
            <a:ext cx="8877300" cy="387798"/>
          </a:xfrm>
        </p:spPr>
        <p:txBody>
          <a:bodyPr vert="horz" anchor="ctr"/>
          <a:lstStyle>
            <a:lvl1pPr>
              <a:defRPr sz="2800"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0627AE64-7907-46CE-A886-FA3E1DAA78B3}"/>
              </a:ext>
            </a:extLst>
          </p:cNvPr>
          <p:cNvGrpSpPr/>
          <p:nvPr userDrawn="1"/>
        </p:nvGrpSpPr>
        <p:grpSpPr>
          <a:xfrm>
            <a:off x="423198" y="-2418"/>
            <a:ext cx="1993900" cy="1718915"/>
            <a:chOff x="423198" y="-2418"/>
            <a:chExt cx="1993900" cy="1718915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BBF2489-2476-42A7-BAA6-35D9F35FAC3C}"/>
                </a:ext>
              </a:extLst>
            </p:cNvPr>
            <p:cNvSpPr/>
            <p:nvPr/>
          </p:nvSpPr>
          <p:spPr>
            <a:xfrm>
              <a:off x="629399" y="-2418"/>
              <a:ext cx="1581497" cy="1718915"/>
            </a:xfrm>
            <a:prstGeom prst="rect">
              <a:avLst/>
            </a:prstGeom>
            <a:solidFill>
              <a:srgbClr val="3599DB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69ADB2D4-2BC3-4442-B519-D4A3F61A5066}"/>
                </a:ext>
              </a:extLst>
            </p:cNvPr>
            <p:cNvSpPr/>
            <p:nvPr/>
          </p:nvSpPr>
          <p:spPr>
            <a:xfrm>
              <a:off x="423198" y="188777"/>
              <a:ext cx="1993900" cy="1338943"/>
            </a:xfrm>
            <a:prstGeom prst="rect">
              <a:avLst/>
            </a:prstGeom>
            <a:solidFill>
              <a:schemeClr val="tx2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F6902FAA-C33F-4142-8991-848BFFF87C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clrChange>
                <a:clrFrom>
                  <a:srgbClr val="12284B"/>
                </a:clrFrom>
                <a:clrTo>
                  <a:srgbClr val="12284B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921" t="21408" r="7529" b="16546"/>
            <a:stretch/>
          </p:blipFill>
          <p:spPr>
            <a:xfrm>
              <a:off x="546578" y="480263"/>
              <a:ext cx="1747140" cy="755972"/>
            </a:xfrm>
            <a:custGeom>
              <a:avLst/>
              <a:gdLst>
                <a:gd name="connsiteX0" fmla="*/ 0 w 3649041"/>
                <a:gd name="connsiteY0" fmla="*/ 0 h 2098956"/>
                <a:gd name="connsiteX1" fmla="*/ 3649041 w 3649041"/>
                <a:gd name="connsiteY1" fmla="*/ 0 h 2098956"/>
                <a:gd name="connsiteX2" fmla="*/ 3649041 w 3649041"/>
                <a:gd name="connsiteY2" fmla="*/ 2098956 h 2098956"/>
                <a:gd name="connsiteX3" fmla="*/ 0 w 3649041"/>
                <a:gd name="connsiteY3" fmla="*/ 2098956 h 2098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49041" h="2098956">
                  <a:moveTo>
                    <a:pt x="0" y="0"/>
                  </a:moveTo>
                  <a:lnTo>
                    <a:pt x="3649041" y="0"/>
                  </a:lnTo>
                  <a:lnTo>
                    <a:pt x="3649041" y="2098956"/>
                  </a:lnTo>
                  <a:lnTo>
                    <a:pt x="0" y="2098956"/>
                  </a:lnTo>
                  <a:close/>
                </a:path>
              </a:pathLst>
            </a:custGeom>
          </p:spPr>
        </p:pic>
      </p:grpSp>
    </p:spTree>
    <p:extLst>
      <p:ext uri="{BB962C8B-B14F-4D97-AF65-F5344CB8AC3E}">
        <p14:creationId xmlns:p14="http://schemas.microsoft.com/office/powerpoint/2010/main" val="1890247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5895B04-5685-41A6-8D29-D3D89DBC87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012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895B04-5685-41A6-8D29-D3D89DBC87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vert="horz" anchor="t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81447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5590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3753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8010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8C08D19-B5DC-4622-A61F-6DAA97E82D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3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C08D19-B5DC-4622-A61F-6DAA97E82D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21BADB7-38C1-479F-BC39-E11178CE4F36}"/>
              </a:ext>
            </a:extLst>
          </p:cNvPr>
          <p:cNvSpPr/>
          <p:nvPr userDrawn="1"/>
        </p:nvSpPr>
        <p:spPr>
          <a:xfrm>
            <a:off x="3933172" y="0"/>
            <a:ext cx="146335" cy="6858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5360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4E1B898-763C-4852-A79F-E8661BF431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6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4E1B898-763C-4852-A79F-E8661BF431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87798"/>
          </a:xfrm>
          <a:prstGeom prst="rect">
            <a:avLst/>
          </a:prstGeom>
        </p:spPr>
        <p:txBody>
          <a:bodyPr vert="horz"/>
          <a:lstStyle>
            <a:lvl1pPr>
              <a:defRPr sz="2800"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091397D-8647-4BE7-81CF-9CF029D8FCDA}"/>
              </a:ext>
            </a:extLst>
          </p:cNvPr>
          <p:cNvSpPr/>
          <p:nvPr userDrawn="1"/>
        </p:nvSpPr>
        <p:spPr>
          <a:xfrm>
            <a:off x="7025621" y="0"/>
            <a:ext cx="146335" cy="6858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1080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874A8FC-CDE3-4D4F-892B-A3495C859B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08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74A8FC-CDE3-4D4F-892B-A3495C859B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87798"/>
          </a:xfrm>
          <a:prstGeom prst="rect">
            <a:avLst/>
          </a:prstGeom>
        </p:spPr>
        <p:txBody>
          <a:bodyPr vert="horz"/>
          <a:lstStyle>
            <a:lvl1pPr>
              <a:defRPr sz="2800"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11CEE8B-895D-45FB-9F5A-5BE236414DD6}"/>
              </a:ext>
            </a:extLst>
          </p:cNvPr>
          <p:cNvSpPr/>
          <p:nvPr userDrawn="1"/>
        </p:nvSpPr>
        <p:spPr>
          <a:xfrm>
            <a:off x="8887937" y="0"/>
            <a:ext cx="146335" cy="6858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7225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17AA9AF-24B8-4A9D-8171-D5C07F1ED1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7AA9AF-24B8-4A9D-8171-D5C07F1ED1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CBE7469-EEDF-422B-9FDD-2F464EB37675}"/>
              </a:ext>
            </a:extLst>
          </p:cNvPr>
          <p:cNvSpPr/>
          <p:nvPr userDrawn="1"/>
        </p:nvSpPr>
        <p:spPr>
          <a:xfrm>
            <a:off x="4080763" y="0"/>
            <a:ext cx="146335" cy="6858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B04D9F2-D36E-4C1F-B9F3-1F1A5D393E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21" t="21408" r="7529" b="16546"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37537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238356" y="0"/>
            <a:ext cx="5953642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386BFCD-0B14-4B1A-9177-0FF1CF140717}"/>
              </a:ext>
            </a:extLst>
          </p:cNvPr>
          <p:cNvSpPr/>
          <p:nvPr userDrawn="1"/>
        </p:nvSpPr>
        <p:spPr>
          <a:xfrm>
            <a:off x="6092021" y="0"/>
            <a:ext cx="146335" cy="6858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A5FB1F0-7FD8-4793-B534-CB4C0824AA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21" t="21408" r="7529" b="16546"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47750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966360" y="0"/>
            <a:ext cx="422564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714F7E4-94F2-42EA-8143-6D57086FF3ED}"/>
              </a:ext>
            </a:extLst>
          </p:cNvPr>
          <p:cNvSpPr/>
          <p:nvPr userDrawn="1"/>
        </p:nvSpPr>
        <p:spPr>
          <a:xfrm>
            <a:off x="7820025" y="0"/>
            <a:ext cx="146335" cy="6858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1F561BB-3432-47E0-B053-8E4B0314EA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21" t="21408" r="7529" b="16546"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041594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32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14">
            <a:extLst>
              <a:ext uri="{FF2B5EF4-FFF2-40B4-BE49-F238E27FC236}">
                <a16:creationId xmlns:a16="http://schemas.microsoft.com/office/drawing/2014/main" id="{45B54F1D-A842-4EE3-996D-7C5098077C01}"/>
              </a:ext>
            </a:extLst>
          </p:cNvPr>
          <p:cNvSpPr/>
          <p:nvPr userDrawn="1"/>
        </p:nvSpPr>
        <p:spPr bwMode="ltGray">
          <a:xfrm>
            <a:off x="1539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41450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6B8976B-5D7F-4C03-AB28-C06137908F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5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6B8976B-5D7F-4C03-AB28-C06137908F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reeform 14">
            <a:extLst>
              <a:ext uri="{FF2B5EF4-FFF2-40B4-BE49-F238E27FC236}">
                <a16:creationId xmlns:a16="http://schemas.microsoft.com/office/drawing/2014/main" id="{3781BDC1-863D-4112-ADA7-A6D5594F8417}"/>
              </a:ext>
            </a:extLst>
          </p:cNvPr>
          <p:cNvSpPr/>
          <p:nvPr userDrawn="1"/>
        </p:nvSpPr>
        <p:spPr bwMode="ltGray">
          <a:xfrm>
            <a:off x="1539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28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34285E9-F4BF-4D90-8B71-13892AB45B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21" t="21408" r="7529" b="16546"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276606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A2B80CE-FFD6-43F3-819F-EE6B14751A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8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2B80CE-FFD6-43F3-819F-EE6B14751A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>
            <a:extLst>
              <a:ext uri="{FF2B5EF4-FFF2-40B4-BE49-F238E27FC236}">
                <a16:creationId xmlns:a16="http://schemas.microsoft.com/office/drawing/2014/main" id="{91E2A49F-7859-42DA-B450-A9F33FE95F5A}"/>
              </a:ext>
            </a:extLst>
          </p:cNvPr>
          <p:cNvSpPr/>
          <p:nvPr userDrawn="1"/>
        </p:nvSpPr>
        <p:spPr bwMode="white">
          <a:xfrm>
            <a:off x="15240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15758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5DFA9FC-D1EA-4C5C-9D29-B61FB693CC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20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DFA9FC-D1EA-4C5C-9D29-B61FB693CC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entagon 3">
            <a:extLst>
              <a:ext uri="{FF2B5EF4-FFF2-40B4-BE49-F238E27FC236}">
                <a16:creationId xmlns:a16="http://schemas.microsoft.com/office/drawing/2014/main" id="{82B220B0-372F-43E3-A109-6CF066759AAB}"/>
              </a:ext>
            </a:extLst>
          </p:cNvPr>
          <p:cNvSpPr/>
          <p:nvPr userDrawn="1"/>
        </p:nvSpPr>
        <p:spPr bwMode="white">
          <a:xfrm>
            <a:off x="15240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C2C706E-CD0A-4E81-8224-11B6D69D18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21" t="21408" r="7529" b="16546"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380175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01515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1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14361" y="6094939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014361" y="5382803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in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014361" y="1886242"/>
            <a:ext cx="68688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accent5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Title in Title Cas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7"/>
          <a:stretch>
            <a:fillRect/>
          </a:stretch>
        </p:blipFill>
        <p:spPr>
          <a:xfrm>
            <a:off x="1014361" y="0"/>
            <a:ext cx="3649041" cy="2098956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  <p:sp>
        <p:nvSpPr>
          <p:cNvPr id="15" name="Rectangle 7"/>
          <p:cNvSpPr txBox="1">
            <a:spLocks noChangeArrowheads="1"/>
          </p:cNvSpPr>
          <p:nvPr userDrawn="1"/>
        </p:nvSpPr>
        <p:spPr bwMode="auto">
          <a:xfrm>
            <a:off x="936741" y="6422087"/>
            <a:ext cx="4074858" cy="372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43" tIns="34271" rIns="68543" bIns="34271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en-US" sz="1800" b="0" i="0">
                <a:solidFill>
                  <a:srgbClr val="002060"/>
                </a:solidFill>
                <a:latin typeface="Franklin Gothic Demi" panose="020B0703020102020204" pitchFamily="34" charset="0"/>
                <a:cs typeface="Arial" charset="0"/>
              </a:rPr>
              <a:t>READY. RESOURCEFUL.</a:t>
            </a:r>
            <a:r>
              <a:rPr lang="en-US" altLang="en-US" sz="1800" b="0" i="0" baseline="0">
                <a:solidFill>
                  <a:srgbClr val="002060"/>
                </a:solidFill>
                <a:latin typeface="Franklin Gothic Demi" panose="020B0703020102020204" pitchFamily="34" charset="0"/>
                <a:cs typeface="Arial" charset="0"/>
              </a:rPr>
              <a:t> RESPONSIVE.</a:t>
            </a:r>
            <a:endParaRPr lang="en-US" altLang="en-US" sz="1800" b="0" i="0">
              <a:solidFill>
                <a:srgbClr val="002060"/>
              </a:solidFill>
              <a:latin typeface="Franklin Gothic Demi" panose="020B0703020102020204" pitchFamily="34" charset="0"/>
              <a:cs typeface="Arial" charset="0"/>
            </a:endParaRPr>
          </a:p>
        </p:txBody>
      </p:sp>
      <p:cxnSp>
        <p:nvCxnSpPr>
          <p:cNvPr id="18" name="Straight Connector 21"/>
          <p:cNvCxnSpPr>
            <a:cxnSpLocks noChangeShapeType="1"/>
          </p:cNvCxnSpPr>
          <p:nvPr userDrawn="1"/>
        </p:nvCxnSpPr>
        <p:spPr bwMode="auto">
          <a:xfrm>
            <a:off x="1014361" y="5017962"/>
            <a:ext cx="6868799" cy="6703"/>
          </a:xfrm>
          <a:prstGeom prst="line">
            <a:avLst/>
          </a:prstGeom>
          <a:noFill/>
          <a:ln w="25400" algn="ctr">
            <a:solidFill>
              <a:srgbClr val="FECB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083039" y="0"/>
            <a:ext cx="310896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764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8467050-7856-47A8-84E0-CB1BCD1CC9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2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467050-7856-47A8-84E0-CB1BCD1CC9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>
            <a:extLst>
              <a:ext uri="{FF2B5EF4-FFF2-40B4-BE49-F238E27FC236}">
                <a16:creationId xmlns:a16="http://schemas.microsoft.com/office/drawing/2014/main" id="{B73AD998-F645-4859-86EF-26B678D7BE4B}"/>
              </a:ext>
            </a:extLst>
          </p:cNvPr>
          <p:cNvSpPr/>
          <p:nvPr userDrawn="1"/>
        </p:nvSpPr>
        <p:spPr bwMode="white">
          <a:xfrm>
            <a:off x="15240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87798"/>
          </a:xfrm>
          <a:prstGeom prst="rect">
            <a:avLst/>
          </a:prstGeom>
        </p:spPr>
        <p:txBody>
          <a:bodyPr vert="horz"/>
          <a:lstStyle>
            <a:lvl1pPr>
              <a:defRPr sz="2800"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1240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CFE9EBF-06A2-4BD6-99DF-3F63DFAE8A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52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CFE9EBF-06A2-4BD6-99DF-3F63DFAE8A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entagon 8">
            <a:extLst>
              <a:ext uri="{FF2B5EF4-FFF2-40B4-BE49-F238E27FC236}">
                <a16:creationId xmlns:a16="http://schemas.microsoft.com/office/drawing/2014/main" id="{9356E77E-8E93-461D-817C-F328F630EB9D}"/>
              </a:ext>
            </a:extLst>
          </p:cNvPr>
          <p:cNvSpPr/>
          <p:nvPr userDrawn="1"/>
        </p:nvSpPr>
        <p:spPr bwMode="white">
          <a:xfrm>
            <a:off x="15240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87798"/>
          </a:xfrm>
          <a:prstGeom prst="rect">
            <a:avLst/>
          </a:prstGeom>
        </p:spPr>
        <p:txBody>
          <a:bodyPr vert="horz"/>
          <a:lstStyle>
            <a:lvl1pPr>
              <a:defRPr sz="28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30D66B2-724B-427D-8D73-6A4149CE0E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21" t="21408" r="7529" b="16546"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844686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AA61861-91E0-4059-A925-33EE70ECF3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7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A61861-91E0-4059-A925-33EE70ECF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8">
            <a:extLst>
              <a:ext uri="{FF2B5EF4-FFF2-40B4-BE49-F238E27FC236}">
                <a16:creationId xmlns:a16="http://schemas.microsoft.com/office/drawing/2014/main" id="{46D81488-9FB8-4587-B002-2347F56DBEE6}"/>
              </a:ext>
            </a:extLst>
          </p:cNvPr>
          <p:cNvSpPr/>
          <p:nvPr userDrawn="1"/>
        </p:nvSpPr>
        <p:spPr bwMode="white">
          <a:xfrm>
            <a:off x="15240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87798"/>
          </a:xfrm>
          <a:prstGeom prst="rect">
            <a:avLst/>
          </a:prstGeom>
        </p:spPr>
        <p:txBody>
          <a:bodyPr vert="horz"/>
          <a:lstStyle>
            <a:lvl1pPr>
              <a:defRPr sz="2800"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61404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9B3FB2A-F8CD-4E5F-BC9B-F2BAFFB8A0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30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B3FB2A-F8CD-4E5F-BC9B-F2BAFFB8A0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8">
            <a:extLst>
              <a:ext uri="{FF2B5EF4-FFF2-40B4-BE49-F238E27FC236}">
                <a16:creationId xmlns:a16="http://schemas.microsoft.com/office/drawing/2014/main" id="{11B0A1E8-4908-4530-945A-00578C53E7A9}"/>
              </a:ext>
            </a:extLst>
          </p:cNvPr>
          <p:cNvSpPr/>
          <p:nvPr userDrawn="1"/>
        </p:nvSpPr>
        <p:spPr bwMode="white">
          <a:xfrm>
            <a:off x="15240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87798"/>
          </a:xfrm>
          <a:prstGeom prst="rect">
            <a:avLst/>
          </a:prstGeom>
        </p:spPr>
        <p:txBody>
          <a:bodyPr vert="horz"/>
          <a:lstStyle>
            <a:lvl1pPr>
              <a:defRPr sz="28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14AF30-37DC-483C-8B69-D2C24A9596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21" t="21408" r="7529" b="16546"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434892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EC9553-52A0-445D-BDF7-7BE623AADE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21" t="21408" r="7529" b="16546"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773399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790933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24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706C710-2025-461F-887B-6B881CEA8A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21" t="21408" r="7529" b="16546"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197780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79E246B-6627-4270-AEBF-6E427B8B1A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9E246B-6627-4270-AEBF-6E427B8B1A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87798"/>
          </a:xfrm>
        </p:spPr>
        <p:txBody>
          <a:bodyPr vert="horz"/>
          <a:lstStyle>
            <a:lvl1pPr>
              <a:defRPr sz="28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30485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7325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1673B08-9749-4910-8876-46C57F559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21" t="21408" r="7529" b="16546"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145547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3135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10387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902356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FFCD120-6C9E-4728-806B-AFBAF1A241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21" t="21408" r="7529" b="16546"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234571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78AF22E-9B53-4DFB-AE10-2A273FCBDD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21" t="21408" r="7529" b="16546"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438277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D601EF44-65AB-426F-ACB9-C4E55DDEE9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21" t="21408" r="7529" b="16546"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859060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64DA0B-50DE-4603-B436-EE2DFC433388}"/>
              </a:ext>
            </a:extLst>
          </p:cNvPr>
          <p:cNvSpPr/>
          <p:nvPr userDrawn="1"/>
        </p:nvSpPr>
        <p:spPr>
          <a:xfrm>
            <a:off x="4080763" y="0"/>
            <a:ext cx="146335" cy="6858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653C29F-F22C-4876-8B32-71822A886E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21" t="21408" r="7529" b="16546"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112128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46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919839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4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2198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5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7512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B629FB-F882-47B9-A78F-DBC50F80739E}"/>
              </a:ext>
            </a:extLst>
          </p:cNvPr>
          <p:cNvSpPr/>
          <p:nvPr userDrawn="1"/>
        </p:nvSpPr>
        <p:spPr>
          <a:xfrm>
            <a:off x="4080763" y="0"/>
            <a:ext cx="146335" cy="6858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7A2AC36-4308-4933-9F93-4A5E5B4D94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clrChange>
              <a:clrFrom>
                <a:srgbClr val="12284B"/>
              </a:clrFrom>
              <a:clrTo>
                <a:srgbClr val="12284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21" t="21408" r="7529" b="16546"/>
          <a:stretch/>
        </p:blipFill>
        <p:spPr>
          <a:xfrm>
            <a:off x="217054" y="150063"/>
            <a:ext cx="976746" cy="422629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012407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86427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2">
            <a:extLst>
              <a:ext uri="{FF2B5EF4-FFF2-40B4-BE49-F238E27FC236}">
                <a16:creationId xmlns:a16="http://schemas.microsoft.com/office/drawing/2014/main" id="{B08D49D8-D9DB-4F1F-86F3-053AE6A22573}"/>
              </a:ext>
            </a:extLst>
          </p:cNvPr>
          <p:cNvSpPr/>
          <p:nvPr userDrawn="1"/>
        </p:nvSpPr>
        <p:spPr bwMode="ltGray">
          <a:xfrm>
            <a:off x="15240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1895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596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14361" y="6094939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014361" y="5382803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in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014361" y="1886242"/>
            <a:ext cx="68688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accent5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Title in Title Cas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7"/>
          <a:stretch>
            <a:fillRect/>
          </a:stretch>
        </p:blipFill>
        <p:spPr>
          <a:xfrm>
            <a:off x="1014361" y="0"/>
            <a:ext cx="3649041" cy="2098956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  <p:sp>
        <p:nvSpPr>
          <p:cNvPr id="15" name="Rectangle 7"/>
          <p:cNvSpPr txBox="1">
            <a:spLocks noChangeArrowheads="1"/>
          </p:cNvSpPr>
          <p:nvPr userDrawn="1"/>
        </p:nvSpPr>
        <p:spPr bwMode="auto">
          <a:xfrm>
            <a:off x="936741" y="6422087"/>
            <a:ext cx="4074858" cy="372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43" tIns="34271" rIns="68543" bIns="34271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en-US" sz="1800" b="0" i="0">
                <a:solidFill>
                  <a:srgbClr val="002060"/>
                </a:solidFill>
                <a:latin typeface="Franklin Gothic Demi" panose="020B0703020102020204" pitchFamily="34" charset="0"/>
                <a:cs typeface="Arial" charset="0"/>
              </a:rPr>
              <a:t>READY. RESOURCEFUL.</a:t>
            </a:r>
            <a:r>
              <a:rPr lang="en-US" altLang="en-US" sz="1800" b="0" i="0" baseline="0">
                <a:solidFill>
                  <a:srgbClr val="002060"/>
                </a:solidFill>
                <a:latin typeface="Franklin Gothic Demi" panose="020B0703020102020204" pitchFamily="34" charset="0"/>
                <a:cs typeface="Arial" charset="0"/>
              </a:rPr>
              <a:t> RESPONSIVE.</a:t>
            </a:r>
            <a:endParaRPr lang="en-US" altLang="en-US" sz="1800" b="0" i="0">
              <a:solidFill>
                <a:srgbClr val="002060"/>
              </a:solidFill>
              <a:latin typeface="Franklin Gothic Demi" panose="020B0703020102020204" pitchFamily="34" charset="0"/>
              <a:cs typeface="Arial" charset="0"/>
            </a:endParaRPr>
          </a:p>
        </p:txBody>
      </p:sp>
      <p:cxnSp>
        <p:nvCxnSpPr>
          <p:cNvPr id="18" name="Straight Connector 21"/>
          <p:cNvCxnSpPr>
            <a:cxnSpLocks noChangeShapeType="1"/>
          </p:cNvCxnSpPr>
          <p:nvPr userDrawn="1"/>
        </p:nvCxnSpPr>
        <p:spPr bwMode="auto">
          <a:xfrm>
            <a:off x="1014361" y="5017962"/>
            <a:ext cx="6868799" cy="6703"/>
          </a:xfrm>
          <a:prstGeom prst="line">
            <a:avLst/>
          </a:prstGeom>
          <a:noFill/>
          <a:ln w="25400" algn="ctr">
            <a:solidFill>
              <a:srgbClr val="FECB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083039" y="0"/>
            <a:ext cx="310896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0505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SS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20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3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Date Placeholder 56"/>
          <p:cNvSpPr>
            <a:spLocks noGrp="1"/>
          </p:cNvSpPr>
          <p:nvPr>
            <p:ph type="dt" sz="half" idx="14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18EA3FF-4774-41C2-9794-9F8088714AC1}"/>
              </a:ext>
            </a:extLst>
          </p:cNvPr>
          <p:cNvGrpSpPr/>
          <p:nvPr userDrawn="1"/>
        </p:nvGrpSpPr>
        <p:grpSpPr>
          <a:xfrm>
            <a:off x="423198" y="-2418"/>
            <a:ext cx="1993900" cy="1718915"/>
            <a:chOff x="423198" y="-2418"/>
            <a:chExt cx="1993900" cy="1718915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1F03FDE-0993-4AD6-B378-82EF0BA8E875}"/>
                </a:ext>
              </a:extLst>
            </p:cNvPr>
            <p:cNvSpPr/>
            <p:nvPr/>
          </p:nvSpPr>
          <p:spPr>
            <a:xfrm>
              <a:off x="629399" y="-2418"/>
              <a:ext cx="1581497" cy="1718915"/>
            </a:xfrm>
            <a:prstGeom prst="rect">
              <a:avLst/>
            </a:prstGeom>
            <a:solidFill>
              <a:srgbClr val="3599DB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D0AF5C3F-5117-4A93-A790-D78316180FE1}"/>
                </a:ext>
              </a:extLst>
            </p:cNvPr>
            <p:cNvSpPr/>
            <p:nvPr/>
          </p:nvSpPr>
          <p:spPr>
            <a:xfrm>
              <a:off x="423198" y="188777"/>
              <a:ext cx="1993900" cy="1338943"/>
            </a:xfrm>
            <a:prstGeom prst="rect">
              <a:avLst/>
            </a:prstGeom>
            <a:solidFill>
              <a:schemeClr val="tx2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88866C24-07FA-4E7C-8887-808BD6920E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clrChange>
                <a:clrFrom>
                  <a:srgbClr val="12284B"/>
                </a:clrFrom>
                <a:clrTo>
                  <a:srgbClr val="12284B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921" t="21408" r="7529" b="16546"/>
            <a:stretch/>
          </p:blipFill>
          <p:spPr>
            <a:xfrm>
              <a:off x="546578" y="480263"/>
              <a:ext cx="1747140" cy="755972"/>
            </a:xfrm>
            <a:custGeom>
              <a:avLst/>
              <a:gdLst>
                <a:gd name="connsiteX0" fmla="*/ 0 w 3649041"/>
                <a:gd name="connsiteY0" fmla="*/ 0 h 2098956"/>
                <a:gd name="connsiteX1" fmla="*/ 3649041 w 3649041"/>
                <a:gd name="connsiteY1" fmla="*/ 0 h 2098956"/>
                <a:gd name="connsiteX2" fmla="*/ 3649041 w 3649041"/>
                <a:gd name="connsiteY2" fmla="*/ 2098956 h 2098956"/>
                <a:gd name="connsiteX3" fmla="*/ 0 w 3649041"/>
                <a:gd name="connsiteY3" fmla="*/ 2098956 h 2098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49041" h="2098956">
                  <a:moveTo>
                    <a:pt x="0" y="0"/>
                  </a:moveTo>
                  <a:lnTo>
                    <a:pt x="3649041" y="0"/>
                  </a:lnTo>
                  <a:lnTo>
                    <a:pt x="3649041" y="2098956"/>
                  </a:lnTo>
                  <a:lnTo>
                    <a:pt x="0" y="2098956"/>
                  </a:lnTo>
                  <a:close/>
                </a:path>
              </a:pathLst>
            </a:custGeom>
          </p:spPr>
        </p:pic>
      </p:grpSp>
    </p:spTree>
    <p:extLst>
      <p:ext uri="{BB962C8B-B14F-4D97-AF65-F5344CB8AC3E}">
        <p14:creationId xmlns:p14="http://schemas.microsoft.com/office/powerpoint/2010/main" val="513207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18EA3FF-4774-41C2-9794-9F8088714AC1}"/>
              </a:ext>
            </a:extLst>
          </p:cNvPr>
          <p:cNvGrpSpPr/>
          <p:nvPr userDrawn="1"/>
        </p:nvGrpSpPr>
        <p:grpSpPr>
          <a:xfrm>
            <a:off x="423198" y="-2418"/>
            <a:ext cx="1993900" cy="1718915"/>
            <a:chOff x="423198" y="-2418"/>
            <a:chExt cx="1993900" cy="1718915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51F03FDE-0993-4AD6-B378-82EF0BA8E875}"/>
                </a:ext>
              </a:extLst>
            </p:cNvPr>
            <p:cNvSpPr/>
            <p:nvPr/>
          </p:nvSpPr>
          <p:spPr>
            <a:xfrm>
              <a:off x="629399" y="-2418"/>
              <a:ext cx="1581497" cy="1718915"/>
            </a:xfrm>
            <a:prstGeom prst="rect">
              <a:avLst/>
            </a:prstGeom>
            <a:solidFill>
              <a:srgbClr val="3599DB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0AF5C3F-5117-4A93-A790-D78316180FE1}"/>
                </a:ext>
              </a:extLst>
            </p:cNvPr>
            <p:cNvSpPr/>
            <p:nvPr/>
          </p:nvSpPr>
          <p:spPr>
            <a:xfrm>
              <a:off x="423198" y="188777"/>
              <a:ext cx="1993900" cy="1338943"/>
            </a:xfrm>
            <a:prstGeom prst="rect">
              <a:avLst/>
            </a:prstGeom>
            <a:solidFill>
              <a:schemeClr val="tx2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8866C24-07FA-4E7C-8887-808BD6920E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clrChange>
                <a:clrFrom>
                  <a:srgbClr val="12284B"/>
                </a:clrFrom>
                <a:clrTo>
                  <a:srgbClr val="12284B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921" t="21408" r="7529" b="16546"/>
            <a:stretch/>
          </p:blipFill>
          <p:spPr>
            <a:xfrm>
              <a:off x="546578" y="480263"/>
              <a:ext cx="1747140" cy="755972"/>
            </a:xfrm>
            <a:custGeom>
              <a:avLst/>
              <a:gdLst>
                <a:gd name="connsiteX0" fmla="*/ 0 w 3649041"/>
                <a:gd name="connsiteY0" fmla="*/ 0 h 2098956"/>
                <a:gd name="connsiteX1" fmla="*/ 3649041 w 3649041"/>
                <a:gd name="connsiteY1" fmla="*/ 0 h 2098956"/>
                <a:gd name="connsiteX2" fmla="*/ 3649041 w 3649041"/>
                <a:gd name="connsiteY2" fmla="*/ 2098956 h 2098956"/>
                <a:gd name="connsiteX3" fmla="*/ 0 w 3649041"/>
                <a:gd name="connsiteY3" fmla="*/ 2098956 h 2098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49041" h="2098956">
                  <a:moveTo>
                    <a:pt x="0" y="0"/>
                  </a:moveTo>
                  <a:lnTo>
                    <a:pt x="3649041" y="0"/>
                  </a:lnTo>
                  <a:lnTo>
                    <a:pt x="3649041" y="2098956"/>
                  </a:lnTo>
                  <a:lnTo>
                    <a:pt x="0" y="2098956"/>
                  </a:lnTo>
                  <a:close/>
                </a:path>
              </a:pathLst>
            </a:custGeom>
          </p:spPr>
        </p:pic>
      </p:grpSp>
    </p:spTree>
    <p:extLst>
      <p:ext uri="{BB962C8B-B14F-4D97-AF65-F5344CB8AC3E}">
        <p14:creationId xmlns:p14="http://schemas.microsoft.com/office/powerpoint/2010/main" val="1564997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1423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63465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9313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2156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82564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163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67576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1039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4241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4400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1076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890792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644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68086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770137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63080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192119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137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4897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578881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913639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392463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68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3569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237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1547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9673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0076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692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solidFill>
            <a:srgbClr val="1228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83" t="16586" r="8083" b="15308"/>
          <a:stretch/>
        </p:blipFill>
        <p:spPr>
          <a:xfrm>
            <a:off x="3163959" y="2667000"/>
            <a:ext cx="3059154" cy="1448000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83035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4161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435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16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14361" y="6094939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014361" y="5382803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in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014361" y="1886242"/>
            <a:ext cx="68688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accent5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Title in Title Cas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7"/>
          <a:stretch>
            <a:fillRect/>
          </a:stretch>
        </p:blipFill>
        <p:spPr>
          <a:xfrm>
            <a:off x="1014361" y="0"/>
            <a:ext cx="3649041" cy="2098956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  <p:sp>
        <p:nvSpPr>
          <p:cNvPr id="15" name="Rectangle 7"/>
          <p:cNvSpPr txBox="1">
            <a:spLocks noChangeArrowheads="1"/>
          </p:cNvSpPr>
          <p:nvPr userDrawn="1"/>
        </p:nvSpPr>
        <p:spPr bwMode="auto">
          <a:xfrm>
            <a:off x="936741" y="6422087"/>
            <a:ext cx="4074858" cy="372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43" tIns="34271" rIns="68543" bIns="34271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en-US" sz="1800" b="0" i="0">
                <a:solidFill>
                  <a:srgbClr val="002060"/>
                </a:solidFill>
                <a:latin typeface="Franklin Gothic Demi" panose="020B0703020102020204" pitchFamily="34" charset="0"/>
                <a:cs typeface="Arial" charset="0"/>
              </a:rPr>
              <a:t>READY. RESOURCEFUL.</a:t>
            </a:r>
            <a:r>
              <a:rPr lang="en-US" altLang="en-US" sz="1800" b="0" i="0" baseline="0">
                <a:solidFill>
                  <a:srgbClr val="002060"/>
                </a:solidFill>
                <a:latin typeface="Franklin Gothic Demi" panose="020B0703020102020204" pitchFamily="34" charset="0"/>
                <a:cs typeface="Arial" charset="0"/>
              </a:rPr>
              <a:t> RESPONSIVE.</a:t>
            </a:r>
            <a:endParaRPr lang="en-US" altLang="en-US" sz="1800" b="0" i="0">
              <a:solidFill>
                <a:srgbClr val="002060"/>
              </a:solidFill>
              <a:latin typeface="Franklin Gothic Demi" panose="020B0703020102020204" pitchFamily="34" charset="0"/>
              <a:cs typeface="Arial" charset="0"/>
            </a:endParaRPr>
          </a:p>
        </p:txBody>
      </p:sp>
      <p:cxnSp>
        <p:nvCxnSpPr>
          <p:cNvPr id="18" name="Straight Connector 21"/>
          <p:cNvCxnSpPr>
            <a:cxnSpLocks noChangeShapeType="1"/>
          </p:cNvCxnSpPr>
          <p:nvPr userDrawn="1"/>
        </p:nvCxnSpPr>
        <p:spPr bwMode="auto">
          <a:xfrm>
            <a:off x="1014361" y="5017962"/>
            <a:ext cx="6868799" cy="6703"/>
          </a:xfrm>
          <a:prstGeom prst="line">
            <a:avLst/>
          </a:prstGeom>
          <a:noFill/>
          <a:ln w="25400" algn="ctr">
            <a:solidFill>
              <a:srgbClr val="FECB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083039" y="0"/>
            <a:ext cx="310896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962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12662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16917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11558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6053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0414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87762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51473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35269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7172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30913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313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8709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40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4928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036267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47273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841527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22356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66645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48707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033198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27357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20638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670131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64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3068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88447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55912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4678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8875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0883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788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solidFill>
            <a:srgbClr val="1228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83" t="16586" r="8083" b="15308"/>
          <a:stretch/>
        </p:blipFill>
        <p:spPr>
          <a:xfrm>
            <a:off x="2971801" y="2667000"/>
            <a:ext cx="3059154" cy="1448000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026042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0088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73553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1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5CFD172-DFA6-85F4-86D2-A9E05EB076DC}"/>
              </a:ext>
            </a:extLst>
          </p:cNvPr>
          <p:cNvGrpSpPr/>
          <p:nvPr userDrawn="1">
            <p:custDataLst>
              <p:tags r:id="rId4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" name="No fly zone">
              <a:extLst>
                <a:ext uri="{FF2B5EF4-FFF2-40B4-BE49-F238E27FC236}">
                  <a16:creationId xmlns:a16="http://schemas.microsoft.com/office/drawing/2014/main" id="{A32A028C-61A0-7B9B-985D-AEE502D2088F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6" name="Baselines / anchors">
              <a:extLst>
                <a:ext uri="{FF2B5EF4-FFF2-40B4-BE49-F238E27FC236}">
                  <a16:creationId xmlns:a16="http://schemas.microsoft.com/office/drawing/2014/main" id="{12560648-9BC9-13A4-4B7B-6FA75A936709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1D5F01F6-4B58-27F0-8AD4-A6FFE7B3D288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0B53C0A5-4514-7A48-8FB7-AD7ACC78091F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9A5FF46D-DB55-8107-E95F-A9445DEDA3CF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75AA848B-764C-094F-D24A-22AFAC738AE9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F8B49C1B-1403-9D41-ABAA-EACA09F3EBDE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7C49C6A7-4ED1-402C-F346-FC016A6FA45A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05BDEB38-174B-0685-818C-FF706A059549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1495C784-81B3-9870-384B-4448C2AA2D29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4C001A9E-1861-C4F9-9D0D-59BD73B3ABBF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BEC9FB37-750D-16B8-47E3-7F65EF72C7CE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319B6E88-CB1C-0772-9914-8A581FFF787D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1B62128F-FF7A-5995-8521-F167D107C8A9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76B8B421-872A-BB21-D84F-5A5E333EABC5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4F69B523-B430-FE47-4835-69E8EC36C210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E5FE61C7-377C-A098-6F37-3AF92D76E898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B95FF4AF-5FEE-E0A7-AE53-BA5A84B61CBC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FD9D478B-B9FC-2979-6698-287772C22BA1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B89E655F-F175-33F2-C005-4EEDDBD17AA0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28C6C475-8A6A-FB10-6910-300376269AAE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04F256A6-CCCA-A561-762F-294091D1481F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utter space">
              <a:extLst>
                <a:ext uri="{FF2B5EF4-FFF2-40B4-BE49-F238E27FC236}">
                  <a16:creationId xmlns:a16="http://schemas.microsoft.com/office/drawing/2014/main" id="{FAD42389-D543-AE7C-55D2-94FFB2BA2A58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3" name="Rectangle 34">
                <a:extLst>
                  <a:ext uri="{FF2B5EF4-FFF2-40B4-BE49-F238E27FC236}">
                    <a16:creationId xmlns:a16="http://schemas.microsoft.com/office/drawing/2014/main" id="{2FAA86B7-D089-BF39-BBE5-6353118B67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5">
                <a:extLst>
                  <a:ext uri="{FF2B5EF4-FFF2-40B4-BE49-F238E27FC236}">
                    <a16:creationId xmlns:a16="http://schemas.microsoft.com/office/drawing/2014/main" id="{110969CB-E192-9D16-4FA1-DB09C03ABB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6">
                <a:extLst>
                  <a:ext uri="{FF2B5EF4-FFF2-40B4-BE49-F238E27FC236}">
                    <a16:creationId xmlns:a16="http://schemas.microsoft.com/office/drawing/2014/main" id="{DFD2819C-0C28-BE58-8A3F-39C46B1FBC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7">
                <a:extLst>
                  <a:ext uri="{FF2B5EF4-FFF2-40B4-BE49-F238E27FC236}">
                    <a16:creationId xmlns:a16="http://schemas.microsoft.com/office/drawing/2014/main" id="{6494C4B8-56F7-3EF1-398C-E475BCCEC9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8">
                <a:extLst>
                  <a:ext uri="{FF2B5EF4-FFF2-40B4-BE49-F238E27FC236}">
                    <a16:creationId xmlns:a16="http://schemas.microsoft.com/office/drawing/2014/main" id="{ADD974BC-4003-CCA9-A7A0-1BD7A7C407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39">
                <a:extLst>
                  <a:ext uri="{FF2B5EF4-FFF2-40B4-BE49-F238E27FC236}">
                    <a16:creationId xmlns:a16="http://schemas.microsoft.com/office/drawing/2014/main" id="{D28E7763-EA04-F62E-5543-745BCE80EA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0">
                <a:extLst>
                  <a:ext uri="{FF2B5EF4-FFF2-40B4-BE49-F238E27FC236}">
                    <a16:creationId xmlns:a16="http://schemas.microsoft.com/office/drawing/2014/main" id="{9DBA65AC-1F4D-418C-96BA-214B43F46D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1">
                <a:extLst>
                  <a:ext uri="{FF2B5EF4-FFF2-40B4-BE49-F238E27FC236}">
                    <a16:creationId xmlns:a16="http://schemas.microsoft.com/office/drawing/2014/main" id="{FF61F02D-F74D-21A2-7103-CF379513DD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2">
                <a:extLst>
                  <a:ext uri="{FF2B5EF4-FFF2-40B4-BE49-F238E27FC236}">
                    <a16:creationId xmlns:a16="http://schemas.microsoft.com/office/drawing/2014/main" id="{56190309-4DB9-84A9-3D2F-A3DAD5A537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3">
                <a:extLst>
                  <a:ext uri="{FF2B5EF4-FFF2-40B4-BE49-F238E27FC236}">
                    <a16:creationId xmlns:a16="http://schemas.microsoft.com/office/drawing/2014/main" id="{3E34EA1C-95E2-2EAA-C006-79918A6590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44">
                <a:extLst>
                  <a:ext uri="{FF2B5EF4-FFF2-40B4-BE49-F238E27FC236}">
                    <a16:creationId xmlns:a16="http://schemas.microsoft.com/office/drawing/2014/main" id="{6CD538D1-17CA-026B-F1C4-96533A65B5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9" name="Slide edges">
              <a:extLst>
                <a:ext uri="{FF2B5EF4-FFF2-40B4-BE49-F238E27FC236}">
                  <a16:creationId xmlns:a16="http://schemas.microsoft.com/office/drawing/2014/main" id="{0F9D03CE-ACB6-2689-8716-FC92C2F091BA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3" name="Footnote measure">
              <a:extLst>
                <a:ext uri="{FF2B5EF4-FFF2-40B4-BE49-F238E27FC236}">
                  <a16:creationId xmlns:a16="http://schemas.microsoft.com/office/drawing/2014/main" id="{CD295664-FBE5-BC7A-DFDD-CDB1BCD68A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Whitespace measure">
              <a:extLst>
                <a:ext uri="{FF2B5EF4-FFF2-40B4-BE49-F238E27FC236}">
                  <a16:creationId xmlns:a16="http://schemas.microsoft.com/office/drawing/2014/main" id="{0794EFB3-AB63-8C14-C13F-4E056DAFDE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5" name="Five column measure">
              <a:extLst>
                <a:ext uri="{FF2B5EF4-FFF2-40B4-BE49-F238E27FC236}">
                  <a16:creationId xmlns:a16="http://schemas.microsoft.com/office/drawing/2014/main" id="{BC462BE2-2619-C541-2ACD-8A7373D0DFBD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8" name="Rectangle 5">
                <a:extLst>
                  <a:ext uri="{FF2B5EF4-FFF2-40B4-BE49-F238E27FC236}">
                    <a16:creationId xmlns:a16="http://schemas.microsoft.com/office/drawing/2014/main" id="{CB71F1B1-3CE9-4D25-FBB0-374E709F19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7">
                <a:extLst>
                  <a:ext uri="{FF2B5EF4-FFF2-40B4-BE49-F238E27FC236}">
                    <a16:creationId xmlns:a16="http://schemas.microsoft.com/office/drawing/2014/main" id="{2D74B6B3-0F18-C131-0805-B7F070E67E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9">
                <a:extLst>
                  <a:ext uri="{FF2B5EF4-FFF2-40B4-BE49-F238E27FC236}">
                    <a16:creationId xmlns:a16="http://schemas.microsoft.com/office/drawing/2014/main" id="{668CBECF-6992-6A0E-2C51-4728038BF4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1">
                <a:extLst>
                  <a:ext uri="{FF2B5EF4-FFF2-40B4-BE49-F238E27FC236}">
                    <a16:creationId xmlns:a16="http://schemas.microsoft.com/office/drawing/2014/main" id="{495BA356-791D-A0CD-DB1E-416EB78248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13">
                <a:extLst>
                  <a:ext uri="{FF2B5EF4-FFF2-40B4-BE49-F238E27FC236}">
                    <a16:creationId xmlns:a16="http://schemas.microsoft.com/office/drawing/2014/main" id="{14DB5F3F-04F6-0B93-6054-7ACBA81692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6" name="Live area">
              <a:extLst>
                <a:ext uri="{FF2B5EF4-FFF2-40B4-BE49-F238E27FC236}">
                  <a16:creationId xmlns:a16="http://schemas.microsoft.com/office/drawing/2014/main" id="{A5E26647-AE41-8D78-F354-891F67F3389E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7" name="Footnote example">
              <a:extLst>
                <a:ext uri="{FF2B5EF4-FFF2-40B4-BE49-F238E27FC236}">
                  <a16:creationId xmlns:a16="http://schemas.microsoft.com/office/drawing/2014/main" id="{60638442-53DE-440C-AC65-FCA78BE89436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67083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3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56C710F-E2D9-CEA4-05F1-A69D807A7B48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8190BCD6-471B-636F-9A5A-608F5BF3F17C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B2B0CF76-B99A-C85F-5457-DF3C65AE03E0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8EAAE1A7-E726-477F-207D-1AC8080A8573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E4DBE854-5199-FB03-4AE9-8D079855685E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96B79D15-A5B2-C573-2E5A-C1F4FFC36A9D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C6C7472E-585B-8FB3-989A-A934D37DE8D5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84F3B6CB-BD36-275F-A6C3-DFE016CB7A6D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B25BCF46-90B6-47E6-C247-55BC50029B35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E9A81F16-2B5C-60FC-C1CB-F0E95D83BB09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43BD37AD-1BC5-7E86-A2B2-F8CC53189946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34A8E446-49D4-F1A0-ECEB-2421C401D197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ED67FE83-5F53-C127-9FD7-58D5C9367155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A16CA31E-3B53-83A7-08E6-31FCC61CDE58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5943C48D-63EC-BC16-0F25-0C7E921C6C74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1FE28E44-9B84-E953-DBBF-BAA725A9727C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A320CBCF-448F-B00F-3D03-108C46300D10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D4DD4A19-591A-ECEB-BF4B-8ACE717EAB73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79FEF711-C625-65EC-29EA-4BD9AF6341AE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9307F732-1469-3853-E9F8-4288DA268157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8B1F08E6-CE38-BB16-AEA5-4FD46CD22AA5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D6DB7B0F-4B8D-9C8A-E6CD-7417E1C6E53E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69D95448-544B-84F0-8660-1B9947D511FD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79901A11-901D-A45D-E415-616BAF08059B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1" name="Rectangle 34">
                <a:extLst>
                  <a:ext uri="{FF2B5EF4-FFF2-40B4-BE49-F238E27FC236}">
                    <a16:creationId xmlns:a16="http://schemas.microsoft.com/office/drawing/2014/main" id="{5E6A6EFA-4110-8CC1-D7E0-3B666755ED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5">
                <a:extLst>
                  <a:ext uri="{FF2B5EF4-FFF2-40B4-BE49-F238E27FC236}">
                    <a16:creationId xmlns:a16="http://schemas.microsoft.com/office/drawing/2014/main" id="{84805680-6F79-4057-7C4E-FF885F2FDC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6">
                <a:extLst>
                  <a:ext uri="{FF2B5EF4-FFF2-40B4-BE49-F238E27FC236}">
                    <a16:creationId xmlns:a16="http://schemas.microsoft.com/office/drawing/2014/main" id="{B0E90C74-ED62-A13B-1CCA-8A7ACA8EE8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7">
                <a:extLst>
                  <a:ext uri="{FF2B5EF4-FFF2-40B4-BE49-F238E27FC236}">
                    <a16:creationId xmlns:a16="http://schemas.microsoft.com/office/drawing/2014/main" id="{D6423663-C00A-1B59-1A51-49190F87D0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8">
                <a:extLst>
                  <a:ext uri="{FF2B5EF4-FFF2-40B4-BE49-F238E27FC236}">
                    <a16:creationId xmlns:a16="http://schemas.microsoft.com/office/drawing/2014/main" id="{7F6E9FC0-39B2-9CDA-187A-15ED6E9CED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9">
                <a:extLst>
                  <a:ext uri="{FF2B5EF4-FFF2-40B4-BE49-F238E27FC236}">
                    <a16:creationId xmlns:a16="http://schemas.microsoft.com/office/drawing/2014/main" id="{B0B414D9-4D20-5C44-AE11-70F127A5CA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0">
                <a:extLst>
                  <a:ext uri="{FF2B5EF4-FFF2-40B4-BE49-F238E27FC236}">
                    <a16:creationId xmlns:a16="http://schemas.microsoft.com/office/drawing/2014/main" id="{38550AAE-B3B1-DDED-3D68-E86AB59CB1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1">
                <a:extLst>
                  <a:ext uri="{FF2B5EF4-FFF2-40B4-BE49-F238E27FC236}">
                    <a16:creationId xmlns:a16="http://schemas.microsoft.com/office/drawing/2014/main" id="{5FDC25D2-0B65-81A2-3190-04F092C940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2">
                <a:extLst>
                  <a:ext uri="{FF2B5EF4-FFF2-40B4-BE49-F238E27FC236}">
                    <a16:creationId xmlns:a16="http://schemas.microsoft.com/office/drawing/2014/main" id="{2B14355B-9BEE-7268-927D-CDC113E9A6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3">
                <a:extLst>
                  <a:ext uri="{FF2B5EF4-FFF2-40B4-BE49-F238E27FC236}">
                    <a16:creationId xmlns:a16="http://schemas.microsoft.com/office/drawing/2014/main" id="{851A77CB-F55F-087E-5155-8F8231BA3B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4">
                <a:extLst>
                  <a:ext uri="{FF2B5EF4-FFF2-40B4-BE49-F238E27FC236}">
                    <a16:creationId xmlns:a16="http://schemas.microsoft.com/office/drawing/2014/main" id="{B7CFCB50-3DB3-74DE-F63C-2FE8C3FEF5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8" name="Slide edges">
              <a:extLst>
                <a:ext uri="{FF2B5EF4-FFF2-40B4-BE49-F238E27FC236}">
                  <a16:creationId xmlns:a16="http://schemas.microsoft.com/office/drawing/2014/main" id="{6E4BC7BB-5D61-203C-B821-7E6F4976D1B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:a16="http://schemas.microsoft.com/office/drawing/2014/main" id="{0E9853F5-3ED0-529E-752E-AA0365B9C4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D45C2999-DBEE-9377-C20C-378E341477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09BF1550-71FC-3E10-49E1-2F0481BFDB40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6" name="Rectangle 5">
                <a:extLst>
                  <a:ext uri="{FF2B5EF4-FFF2-40B4-BE49-F238E27FC236}">
                    <a16:creationId xmlns:a16="http://schemas.microsoft.com/office/drawing/2014/main" id="{705ABA5A-8309-9583-4B6D-7FD2388035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7">
                <a:extLst>
                  <a:ext uri="{FF2B5EF4-FFF2-40B4-BE49-F238E27FC236}">
                    <a16:creationId xmlns:a16="http://schemas.microsoft.com/office/drawing/2014/main" id="{272C2852-B071-AA36-9522-95FEE7EC23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9">
                <a:extLst>
                  <a:ext uri="{FF2B5EF4-FFF2-40B4-BE49-F238E27FC236}">
                    <a16:creationId xmlns:a16="http://schemas.microsoft.com/office/drawing/2014/main" id="{27167FA3-8C9F-D5C2-723D-C7AD1FBEDE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1">
                <a:extLst>
                  <a:ext uri="{FF2B5EF4-FFF2-40B4-BE49-F238E27FC236}">
                    <a16:creationId xmlns:a16="http://schemas.microsoft.com/office/drawing/2014/main" id="{15A938F0-93D3-FE30-A9F3-E9D844E482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3">
                <a:extLst>
                  <a:ext uri="{FF2B5EF4-FFF2-40B4-BE49-F238E27FC236}">
                    <a16:creationId xmlns:a16="http://schemas.microsoft.com/office/drawing/2014/main" id="{EA2E1AAF-FDAF-345E-7469-0B48AA094C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4" name="Live area">
              <a:extLst>
                <a:ext uri="{FF2B5EF4-FFF2-40B4-BE49-F238E27FC236}">
                  <a16:creationId xmlns:a16="http://schemas.microsoft.com/office/drawing/2014/main" id="{9A8891D0-D214-4F48-338B-88B7BB70D3E2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5" name="Footnote example">
              <a:extLst>
                <a:ext uri="{FF2B5EF4-FFF2-40B4-BE49-F238E27FC236}">
                  <a16:creationId xmlns:a16="http://schemas.microsoft.com/office/drawing/2014/main" id="{663890ED-9D9C-5FBA-0CF4-C7F4D79FEDBF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35018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6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3C79C9AE-4240-3DA0-2AB8-C17D39CD21C1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D1D5CFBC-324B-CB93-18A8-952F14106BBB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A36E7A43-AF7B-DF25-D05A-695319333105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4471639F-9B9F-9672-EDD4-FD4E087764FD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CE7A6CFE-563C-BA82-E410-AC192B1188CB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19733ADF-D6F0-8C4D-7A9E-54144145ADBE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438903F3-3F58-E8AD-B0A6-3BE45D86AE7C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B1B109A0-9B69-F812-1FD1-C36350CA75D0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022C01F7-2965-A290-DB22-D3F9D90C89DB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B0F95E02-BACD-4B4C-B8DC-8503569BC1AE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F5FF3FC4-15A2-9F6E-07DC-9D0BAEC57858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C959A248-19A9-9389-F325-B44865878D7A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F0B4CE85-8778-8754-4938-56851A59AA4F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E64BE3E7-5E55-415F-904B-6401C55F9BAB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5DFAB55C-FE66-B469-4C7C-7E36DB8809CF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4C7B23EE-04B8-B063-BADD-A5280BF12293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ADD3822F-A32F-896B-0A69-040867B478C7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490EA029-4DE3-3CBA-0B02-CB28D207C979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EA1574D7-C3EF-ED90-49C6-B9031E511A3A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86B0FC86-0103-28B3-0EB1-E4F2D385DD5A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2C911162-7F3A-F336-B0CE-AD05C1CD8C20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5A1A6EDE-44A5-949F-A8A6-9DB205ED7505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9C4AF0BF-C92C-2F71-5496-C573D4B7C661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9263FC9A-2208-76C2-97B4-E660E3AC6E1E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1" name="Rectangle 34">
                <a:extLst>
                  <a:ext uri="{FF2B5EF4-FFF2-40B4-BE49-F238E27FC236}">
                    <a16:creationId xmlns:a16="http://schemas.microsoft.com/office/drawing/2014/main" id="{857F154F-FD9B-5B5F-A605-68E493EFFD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5">
                <a:extLst>
                  <a:ext uri="{FF2B5EF4-FFF2-40B4-BE49-F238E27FC236}">
                    <a16:creationId xmlns:a16="http://schemas.microsoft.com/office/drawing/2014/main" id="{5F54BDBE-A9C3-E8C1-DFFD-2BE85D828B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6">
                <a:extLst>
                  <a:ext uri="{FF2B5EF4-FFF2-40B4-BE49-F238E27FC236}">
                    <a16:creationId xmlns:a16="http://schemas.microsoft.com/office/drawing/2014/main" id="{1E8DCE56-C57A-0C94-4651-5F016851EE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7">
                <a:extLst>
                  <a:ext uri="{FF2B5EF4-FFF2-40B4-BE49-F238E27FC236}">
                    <a16:creationId xmlns:a16="http://schemas.microsoft.com/office/drawing/2014/main" id="{587093F0-99FA-2E2C-536F-2470B768AE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8">
                <a:extLst>
                  <a:ext uri="{FF2B5EF4-FFF2-40B4-BE49-F238E27FC236}">
                    <a16:creationId xmlns:a16="http://schemas.microsoft.com/office/drawing/2014/main" id="{C8E42A2C-9049-1259-89FE-F36D0BDDE1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9">
                <a:extLst>
                  <a:ext uri="{FF2B5EF4-FFF2-40B4-BE49-F238E27FC236}">
                    <a16:creationId xmlns:a16="http://schemas.microsoft.com/office/drawing/2014/main" id="{A3C59913-92EC-8D91-631D-EFBA7A6971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0">
                <a:extLst>
                  <a:ext uri="{FF2B5EF4-FFF2-40B4-BE49-F238E27FC236}">
                    <a16:creationId xmlns:a16="http://schemas.microsoft.com/office/drawing/2014/main" id="{603C7151-8A8E-C9C5-10C8-8FF7D3BF55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1">
                <a:extLst>
                  <a:ext uri="{FF2B5EF4-FFF2-40B4-BE49-F238E27FC236}">
                    <a16:creationId xmlns:a16="http://schemas.microsoft.com/office/drawing/2014/main" id="{1CC1F9C2-6219-0E8D-B7BE-0C155EA186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2">
                <a:extLst>
                  <a:ext uri="{FF2B5EF4-FFF2-40B4-BE49-F238E27FC236}">
                    <a16:creationId xmlns:a16="http://schemas.microsoft.com/office/drawing/2014/main" id="{EDCEE747-10EA-2FB4-E4B1-0E8A273423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3">
                <a:extLst>
                  <a:ext uri="{FF2B5EF4-FFF2-40B4-BE49-F238E27FC236}">
                    <a16:creationId xmlns:a16="http://schemas.microsoft.com/office/drawing/2014/main" id="{F639CF95-B2E6-2E19-9AA6-96EC5B2DF1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4">
                <a:extLst>
                  <a:ext uri="{FF2B5EF4-FFF2-40B4-BE49-F238E27FC236}">
                    <a16:creationId xmlns:a16="http://schemas.microsoft.com/office/drawing/2014/main" id="{C84BB334-880A-4E07-240B-98C7FFCEE8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8" name="Slide edges">
              <a:extLst>
                <a:ext uri="{FF2B5EF4-FFF2-40B4-BE49-F238E27FC236}">
                  <a16:creationId xmlns:a16="http://schemas.microsoft.com/office/drawing/2014/main" id="{0244717C-90EE-7FE0-F7A9-295B40CA8D2C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:a16="http://schemas.microsoft.com/office/drawing/2014/main" id="{912DFEDE-A360-057C-C1A8-C597C5E3D7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8A49CAFD-F2A3-0E2A-8884-65672B78BC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A35218ED-FEFE-1537-7AD2-B26145130848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6" name="Rectangle 5">
                <a:extLst>
                  <a:ext uri="{FF2B5EF4-FFF2-40B4-BE49-F238E27FC236}">
                    <a16:creationId xmlns:a16="http://schemas.microsoft.com/office/drawing/2014/main" id="{2F9ED2F6-99C0-ADB9-AD04-118406BC77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7">
                <a:extLst>
                  <a:ext uri="{FF2B5EF4-FFF2-40B4-BE49-F238E27FC236}">
                    <a16:creationId xmlns:a16="http://schemas.microsoft.com/office/drawing/2014/main" id="{A9934554-F5BA-1514-A5F9-92F13F82F7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9">
                <a:extLst>
                  <a:ext uri="{FF2B5EF4-FFF2-40B4-BE49-F238E27FC236}">
                    <a16:creationId xmlns:a16="http://schemas.microsoft.com/office/drawing/2014/main" id="{0516CA90-EC0D-C03B-12B2-D38A28B769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1">
                <a:extLst>
                  <a:ext uri="{FF2B5EF4-FFF2-40B4-BE49-F238E27FC236}">
                    <a16:creationId xmlns:a16="http://schemas.microsoft.com/office/drawing/2014/main" id="{B5AAFC3C-BE18-5CA1-605B-38250C48E0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3">
                <a:extLst>
                  <a:ext uri="{FF2B5EF4-FFF2-40B4-BE49-F238E27FC236}">
                    <a16:creationId xmlns:a16="http://schemas.microsoft.com/office/drawing/2014/main" id="{4420A800-6C5A-A942-3F7D-C8CF333276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4" name="Live area">
              <a:extLst>
                <a:ext uri="{FF2B5EF4-FFF2-40B4-BE49-F238E27FC236}">
                  <a16:creationId xmlns:a16="http://schemas.microsoft.com/office/drawing/2014/main" id="{14D0D647-5C7C-7A77-9E00-BBE7BB9614CA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5" name="Footnote example">
              <a:extLst>
                <a:ext uri="{FF2B5EF4-FFF2-40B4-BE49-F238E27FC236}">
                  <a16:creationId xmlns:a16="http://schemas.microsoft.com/office/drawing/2014/main" id="{1E5F00BB-DD5B-4777-3847-35F2A3ECE2AD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83522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8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53B40A2-62CB-BFE6-A154-F4538E2C1F18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A70D689F-5D20-404F-9C3C-12663CFA7006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52481987-0396-4B60-D4A2-E7C6D2A6B214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57295CDB-8092-5D2A-33C7-D7A73946FD4E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2FE7B7F8-B041-E647-69F9-5E0B1E055564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69A013F4-C319-415E-0C9B-A467D84F8336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ED81694E-152F-3C63-431B-C550CF035E64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358DAFF6-F071-2869-10D5-AF9575B00F38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1905F202-AF53-B57E-69DA-106D7AD6DAC2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CE7BCD59-CABF-D517-3FF4-D663408E794C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3BA1CDD6-97D7-150D-165B-27790A8254CB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8318D2A2-7EC1-A4CD-2AFF-D07F25559B27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6CFF7516-0354-7AA9-8DCD-4A10B84F7716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E2B6C54C-45CA-08D4-78E8-F2B308BCA76B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3388AAB2-8C96-F8D4-C952-9A28F225E020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BA0E0CFE-72FF-92F1-8D03-99943BF2213B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AE26BF44-4DD6-19B0-618B-A71F812E81F5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4D36F9EF-A84C-CF71-D70D-BF5D7DB33762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466C4F7D-AE0B-A3C8-08B5-84D04DC31603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FE4B7C46-0593-42BD-F659-731D19E2BD8E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E48B1243-5FCA-FB26-A8E3-1A06E328244C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D0BE054E-0AE0-8A78-49EC-945F7D5C4737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A85E4D36-A013-67C7-E008-B40D8F8EA708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AED38153-B921-1A53-9A37-FBBAB5DA3E57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2" name="Rectangle 34">
                <a:extLst>
                  <a:ext uri="{FF2B5EF4-FFF2-40B4-BE49-F238E27FC236}">
                    <a16:creationId xmlns:a16="http://schemas.microsoft.com/office/drawing/2014/main" id="{9D2DFE59-65B2-B689-4F95-47FD30F2D8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5">
                <a:extLst>
                  <a:ext uri="{FF2B5EF4-FFF2-40B4-BE49-F238E27FC236}">
                    <a16:creationId xmlns:a16="http://schemas.microsoft.com/office/drawing/2014/main" id="{DD4EF938-9DE1-333B-F2C6-9216D39354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6">
                <a:extLst>
                  <a:ext uri="{FF2B5EF4-FFF2-40B4-BE49-F238E27FC236}">
                    <a16:creationId xmlns:a16="http://schemas.microsoft.com/office/drawing/2014/main" id="{BFFFA9AB-EC18-6242-3DF3-7B55AFBDC8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7">
                <a:extLst>
                  <a:ext uri="{FF2B5EF4-FFF2-40B4-BE49-F238E27FC236}">
                    <a16:creationId xmlns:a16="http://schemas.microsoft.com/office/drawing/2014/main" id="{B76E5912-0246-0F64-3612-4EC3C6B646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8">
                <a:extLst>
                  <a:ext uri="{FF2B5EF4-FFF2-40B4-BE49-F238E27FC236}">
                    <a16:creationId xmlns:a16="http://schemas.microsoft.com/office/drawing/2014/main" id="{0FA7A90E-FD5D-1D87-674B-10AAFD0CD1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9">
                <a:extLst>
                  <a:ext uri="{FF2B5EF4-FFF2-40B4-BE49-F238E27FC236}">
                    <a16:creationId xmlns:a16="http://schemas.microsoft.com/office/drawing/2014/main" id="{1C8555EC-C57F-29ED-4C50-BF966418F3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0">
                <a:extLst>
                  <a:ext uri="{FF2B5EF4-FFF2-40B4-BE49-F238E27FC236}">
                    <a16:creationId xmlns:a16="http://schemas.microsoft.com/office/drawing/2014/main" id="{523687C3-9B2D-E328-7DED-1B20F25839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1">
                <a:extLst>
                  <a:ext uri="{FF2B5EF4-FFF2-40B4-BE49-F238E27FC236}">
                    <a16:creationId xmlns:a16="http://schemas.microsoft.com/office/drawing/2014/main" id="{BFF64D83-6C1F-BBE6-2006-90612BE1B4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2">
                <a:extLst>
                  <a:ext uri="{FF2B5EF4-FFF2-40B4-BE49-F238E27FC236}">
                    <a16:creationId xmlns:a16="http://schemas.microsoft.com/office/drawing/2014/main" id="{0ED81B58-DA33-EEB3-E1CB-510385E3B3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3">
                <a:extLst>
                  <a:ext uri="{FF2B5EF4-FFF2-40B4-BE49-F238E27FC236}">
                    <a16:creationId xmlns:a16="http://schemas.microsoft.com/office/drawing/2014/main" id="{43FBD820-6703-3F5B-689F-DFF81B0443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4">
                <a:extLst>
                  <a:ext uri="{FF2B5EF4-FFF2-40B4-BE49-F238E27FC236}">
                    <a16:creationId xmlns:a16="http://schemas.microsoft.com/office/drawing/2014/main" id="{CFADF848-46A6-0B3C-7634-7F0428DB5E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55A722D4-B6D7-B4D2-FB9B-76DC5A95F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" name="Footnote measure">
              <a:extLst>
                <a:ext uri="{FF2B5EF4-FFF2-40B4-BE49-F238E27FC236}">
                  <a16:creationId xmlns:a16="http://schemas.microsoft.com/office/drawing/2014/main" id="{F116CE7B-4B06-A4FB-A793-22CFD94F74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Whitespace measure">
              <a:extLst>
                <a:ext uri="{FF2B5EF4-FFF2-40B4-BE49-F238E27FC236}">
                  <a16:creationId xmlns:a16="http://schemas.microsoft.com/office/drawing/2014/main" id="{2D252AFC-6291-10DD-090B-AD228BCF27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Five column measure">
              <a:extLst>
                <a:ext uri="{FF2B5EF4-FFF2-40B4-BE49-F238E27FC236}">
                  <a16:creationId xmlns:a16="http://schemas.microsoft.com/office/drawing/2014/main" id="{B5378498-2B9D-8C8F-99F7-1C2D96D6FAEE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6" name="Rectangle 5">
                <a:extLst>
                  <a:ext uri="{FF2B5EF4-FFF2-40B4-BE49-F238E27FC236}">
                    <a16:creationId xmlns:a16="http://schemas.microsoft.com/office/drawing/2014/main" id="{084ABC81-3879-9C6B-2C94-26CD56F9A1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7">
                <a:extLst>
                  <a:ext uri="{FF2B5EF4-FFF2-40B4-BE49-F238E27FC236}">
                    <a16:creationId xmlns:a16="http://schemas.microsoft.com/office/drawing/2014/main" id="{C1E0ACEF-A79B-8517-1BFB-12AF7A7F49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9">
                <a:extLst>
                  <a:ext uri="{FF2B5EF4-FFF2-40B4-BE49-F238E27FC236}">
                    <a16:creationId xmlns:a16="http://schemas.microsoft.com/office/drawing/2014/main" id="{7D8A0BC7-152E-C31A-8B3C-659D055E2F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1">
                <a:extLst>
                  <a:ext uri="{FF2B5EF4-FFF2-40B4-BE49-F238E27FC236}">
                    <a16:creationId xmlns:a16="http://schemas.microsoft.com/office/drawing/2014/main" id="{54740D3D-4B8F-FEA3-9C8E-3F32C6F497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3">
                <a:extLst>
                  <a:ext uri="{FF2B5EF4-FFF2-40B4-BE49-F238E27FC236}">
                    <a16:creationId xmlns:a16="http://schemas.microsoft.com/office/drawing/2014/main" id="{6BF7218E-1DB0-8790-CCBB-67D375CA40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" name="Live area">
              <a:extLst>
                <a:ext uri="{FF2B5EF4-FFF2-40B4-BE49-F238E27FC236}">
                  <a16:creationId xmlns:a16="http://schemas.microsoft.com/office/drawing/2014/main" id="{D4DB6665-863B-55F9-306C-47D7A9B72C84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1A60AB13-DD8D-5523-2665-D0EC62CC6323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58406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90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/>
              <a:t>Agenda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B82E238-EB46-086E-53CE-7A0A388E93F3}"/>
              </a:ext>
            </a:extLst>
          </p:cNvPr>
          <p:cNvGrpSpPr/>
          <p:nvPr userDrawn="1">
            <p:custDataLst>
              <p:tags r:id="rId4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3002404F-1ECD-C021-8312-E58270A6CB11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62FCD160-685F-693C-1860-8065BBCF060E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7BE0DF6D-BC7B-8695-D47B-21810A13643B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0E531E6E-8189-9D3C-B0B3-5C147D09AEE3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677AAC8D-B8C2-0EF8-07B2-F1F94B37347E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4218EC20-6BF1-D92F-3D05-20069A08E1E7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44B22DC8-7A41-744D-A9FB-58EF4F362FC7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9AB44DF6-1B6B-9E19-9332-FDD9F4939F2D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AE383328-9819-F2CF-2E03-500B53151C6D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9057CA8B-A696-00C0-5F42-93F066932D25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DFA1E76C-E0BA-DDAD-2DEC-F7A4D83A6FEA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3200D6D5-A2A0-B0BF-64DE-4F6DB34F569A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28B117A1-DB9D-96F4-E461-270578065E2C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36D722BC-C1A1-88F3-4984-26B4A0C74BB1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4B180751-5CA8-FE6B-3C8D-91B30ED06B64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28FC2C75-A00A-5654-A711-C15F674F6A93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DE3627B3-B903-EAD4-DD5D-515DE4DF4772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6A1FC59E-3E9D-470C-1E5B-1085892416F3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DB7C370F-7861-3A7D-B2C7-210720A91707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379A9827-F1AA-3394-3BE9-4F14EF7B9745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E53F9E0E-3662-91CB-5A61-E257933FEC86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00E40620-5431-5AF4-F5F8-45591FCA014C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D118D042-4E63-36BA-48DE-5AB796F1C89C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2" name="Rectangle 34">
                <a:extLst>
                  <a:ext uri="{FF2B5EF4-FFF2-40B4-BE49-F238E27FC236}">
                    <a16:creationId xmlns:a16="http://schemas.microsoft.com/office/drawing/2014/main" id="{5971736E-2432-FFDE-13EF-C9CA90AFD0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5">
                <a:extLst>
                  <a:ext uri="{FF2B5EF4-FFF2-40B4-BE49-F238E27FC236}">
                    <a16:creationId xmlns:a16="http://schemas.microsoft.com/office/drawing/2014/main" id="{83B0F22E-E467-7F18-786D-A48CA3FC12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6">
                <a:extLst>
                  <a:ext uri="{FF2B5EF4-FFF2-40B4-BE49-F238E27FC236}">
                    <a16:creationId xmlns:a16="http://schemas.microsoft.com/office/drawing/2014/main" id="{C860A4DF-1A9D-D071-7201-4364F4997B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7">
                <a:extLst>
                  <a:ext uri="{FF2B5EF4-FFF2-40B4-BE49-F238E27FC236}">
                    <a16:creationId xmlns:a16="http://schemas.microsoft.com/office/drawing/2014/main" id="{337EB0D9-B609-587A-82AD-48378E691C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8">
                <a:extLst>
                  <a:ext uri="{FF2B5EF4-FFF2-40B4-BE49-F238E27FC236}">
                    <a16:creationId xmlns:a16="http://schemas.microsoft.com/office/drawing/2014/main" id="{0596AD05-747A-E7CE-0301-02FAD3F044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9">
                <a:extLst>
                  <a:ext uri="{FF2B5EF4-FFF2-40B4-BE49-F238E27FC236}">
                    <a16:creationId xmlns:a16="http://schemas.microsoft.com/office/drawing/2014/main" id="{327E842E-B0EE-6D8C-3276-CF07C44F99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0">
                <a:extLst>
                  <a:ext uri="{FF2B5EF4-FFF2-40B4-BE49-F238E27FC236}">
                    <a16:creationId xmlns:a16="http://schemas.microsoft.com/office/drawing/2014/main" id="{6DDB79AB-EA3B-7D4B-093D-1F8918F02C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1">
                <a:extLst>
                  <a:ext uri="{FF2B5EF4-FFF2-40B4-BE49-F238E27FC236}">
                    <a16:creationId xmlns:a16="http://schemas.microsoft.com/office/drawing/2014/main" id="{D92D74A7-AC4C-5C65-C7E1-547E2CF39D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2">
                <a:extLst>
                  <a:ext uri="{FF2B5EF4-FFF2-40B4-BE49-F238E27FC236}">
                    <a16:creationId xmlns:a16="http://schemas.microsoft.com/office/drawing/2014/main" id="{600F4C41-E387-8771-2FE8-B2F1F063B4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3">
                <a:extLst>
                  <a:ext uri="{FF2B5EF4-FFF2-40B4-BE49-F238E27FC236}">
                    <a16:creationId xmlns:a16="http://schemas.microsoft.com/office/drawing/2014/main" id="{BACA0354-CABC-5A93-F9CE-76B9ED05FD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4">
                <a:extLst>
                  <a:ext uri="{FF2B5EF4-FFF2-40B4-BE49-F238E27FC236}">
                    <a16:creationId xmlns:a16="http://schemas.microsoft.com/office/drawing/2014/main" id="{1EC08953-125A-1180-4FA4-DD2D8FBCC1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5E27AAE8-8410-3F99-4B74-1F1351B5145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2" name="Footnote measure">
              <a:extLst>
                <a:ext uri="{FF2B5EF4-FFF2-40B4-BE49-F238E27FC236}">
                  <a16:creationId xmlns:a16="http://schemas.microsoft.com/office/drawing/2014/main" id="{1AEEAC75-4E26-9132-C139-ACDB0E1545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Whitespace measure">
              <a:extLst>
                <a:ext uri="{FF2B5EF4-FFF2-40B4-BE49-F238E27FC236}">
                  <a16:creationId xmlns:a16="http://schemas.microsoft.com/office/drawing/2014/main" id="{891C3796-1A58-7EFE-3CA9-C29CCCEE1A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4" name="Five column measure">
              <a:extLst>
                <a:ext uri="{FF2B5EF4-FFF2-40B4-BE49-F238E27FC236}">
                  <a16:creationId xmlns:a16="http://schemas.microsoft.com/office/drawing/2014/main" id="{C1931212-B25E-AE07-2293-D5C89356E300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7" name="Rectangle 5">
                <a:extLst>
                  <a:ext uri="{FF2B5EF4-FFF2-40B4-BE49-F238E27FC236}">
                    <a16:creationId xmlns:a16="http://schemas.microsoft.com/office/drawing/2014/main" id="{E0682460-9AF4-B08B-3F80-79B192A016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7">
                <a:extLst>
                  <a:ext uri="{FF2B5EF4-FFF2-40B4-BE49-F238E27FC236}">
                    <a16:creationId xmlns:a16="http://schemas.microsoft.com/office/drawing/2014/main" id="{9080D528-C95D-136E-8E6B-6CC6BFE750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9">
                <a:extLst>
                  <a:ext uri="{FF2B5EF4-FFF2-40B4-BE49-F238E27FC236}">
                    <a16:creationId xmlns:a16="http://schemas.microsoft.com/office/drawing/2014/main" id="{A1475D7A-6F92-C657-7D4F-26CDD7C041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1">
                <a:extLst>
                  <a:ext uri="{FF2B5EF4-FFF2-40B4-BE49-F238E27FC236}">
                    <a16:creationId xmlns:a16="http://schemas.microsoft.com/office/drawing/2014/main" id="{869A1122-5EB7-B5BA-1AA0-068E73F9AA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3">
                <a:extLst>
                  <a:ext uri="{FF2B5EF4-FFF2-40B4-BE49-F238E27FC236}">
                    <a16:creationId xmlns:a16="http://schemas.microsoft.com/office/drawing/2014/main" id="{95BC6534-FF48-43AA-4F17-3665CFD4B0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5" name="Live area">
              <a:extLst>
                <a:ext uri="{FF2B5EF4-FFF2-40B4-BE49-F238E27FC236}">
                  <a16:creationId xmlns:a16="http://schemas.microsoft.com/office/drawing/2014/main" id="{00E9B06D-6D6B-1328-1435-294C3594A2EC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6" name="Footnote example">
              <a:extLst>
                <a:ext uri="{FF2B5EF4-FFF2-40B4-BE49-F238E27FC236}">
                  <a16:creationId xmlns:a16="http://schemas.microsoft.com/office/drawing/2014/main" id="{248B5C0E-9521-032C-5268-9412A41E5F47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05146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9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3EDB2C0-AF48-21C5-7618-F470D5BBF1A7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DD10C4DE-7D4E-5F6A-F749-398FADCE70FF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F8677D7B-D1BD-3C38-3133-04DF44E6AD75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5622B22B-6A48-D4ED-92A4-996000412883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5342E01F-8F5A-7B70-F6E0-93F79BC0B753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9D4CCED1-D4D9-ED20-0A7C-7AC8A7FE5879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DFCBE384-1D33-2CDE-743A-6F965373249F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FA320FE1-A2AA-8A2E-8F05-5A17DDF5D063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5889C783-37B8-721A-3357-76FDF4A7A553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536A099B-60AA-049A-24FD-EA7F572299B9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E1CC3F87-9AAA-684F-7186-7157EA825A5B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3B01BDC4-EDEA-9A0C-5103-A08F4E580457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23D01A55-AB21-70A0-36A9-E7460F6E9C41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509DA028-0B3C-8493-5A3E-2ADF38570BB0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6F58547B-F38E-8F8C-6328-ED6FB6432169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0E3F3C19-BD4C-075F-85EB-6D6C4246A4F2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703BFECA-8E8E-7BAC-2E73-E1201C35F8F1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C9804AB6-7B81-C06C-F56A-97857172E0E9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04516B5C-370A-68C6-22FE-E836A053901B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CA8F2BA4-26FB-4BDF-88C0-645708213B33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785FA3AF-17F4-EA66-7247-13ACB844474C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D3914F8A-D563-56D4-5690-308173045903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CD4AAB77-D8C4-3C7E-2053-9178627D6883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907D5EA8-1CB7-57B7-9D3D-325DE25BE9E2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0" name="Rectangle 34">
                <a:extLst>
                  <a:ext uri="{FF2B5EF4-FFF2-40B4-BE49-F238E27FC236}">
                    <a16:creationId xmlns:a16="http://schemas.microsoft.com/office/drawing/2014/main" id="{85D06920-890F-2F02-A2AB-88168D3997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35">
                <a:extLst>
                  <a:ext uri="{FF2B5EF4-FFF2-40B4-BE49-F238E27FC236}">
                    <a16:creationId xmlns:a16="http://schemas.microsoft.com/office/drawing/2014/main" id="{EA4830F4-5ECC-08C5-C67D-48DF00EF6E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6">
                <a:extLst>
                  <a:ext uri="{FF2B5EF4-FFF2-40B4-BE49-F238E27FC236}">
                    <a16:creationId xmlns:a16="http://schemas.microsoft.com/office/drawing/2014/main" id="{3ACE1FB9-BBFC-DF52-D8AB-8410E080EA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7">
                <a:extLst>
                  <a:ext uri="{FF2B5EF4-FFF2-40B4-BE49-F238E27FC236}">
                    <a16:creationId xmlns:a16="http://schemas.microsoft.com/office/drawing/2014/main" id="{CCE0E33F-5B8C-19B1-69A6-5E451F6893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8">
                <a:extLst>
                  <a:ext uri="{FF2B5EF4-FFF2-40B4-BE49-F238E27FC236}">
                    <a16:creationId xmlns:a16="http://schemas.microsoft.com/office/drawing/2014/main" id="{C2C4EAAC-810F-9026-CD5A-181AAF34C7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9">
                <a:extLst>
                  <a:ext uri="{FF2B5EF4-FFF2-40B4-BE49-F238E27FC236}">
                    <a16:creationId xmlns:a16="http://schemas.microsoft.com/office/drawing/2014/main" id="{21A62B57-BC37-AD0E-444E-87EA6DBE4B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40">
                <a:extLst>
                  <a:ext uri="{FF2B5EF4-FFF2-40B4-BE49-F238E27FC236}">
                    <a16:creationId xmlns:a16="http://schemas.microsoft.com/office/drawing/2014/main" id="{2F243154-5D9F-02BB-C909-7F595C67AB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1">
                <a:extLst>
                  <a:ext uri="{FF2B5EF4-FFF2-40B4-BE49-F238E27FC236}">
                    <a16:creationId xmlns:a16="http://schemas.microsoft.com/office/drawing/2014/main" id="{72FFC936-B1C8-B51F-1008-C295EDC55D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2">
                <a:extLst>
                  <a:ext uri="{FF2B5EF4-FFF2-40B4-BE49-F238E27FC236}">
                    <a16:creationId xmlns:a16="http://schemas.microsoft.com/office/drawing/2014/main" id="{91A57887-D689-8077-C999-E53FFA071A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3">
                <a:extLst>
                  <a:ext uri="{FF2B5EF4-FFF2-40B4-BE49-F238E27FC236}">
                    <a16:creationId xmlns:a16="http://schemas.microsoft.com/office/drawing/2014/main" id="{7EE5AB43-28A6-198C-8BAA-CB865B865C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4">
                <a:extLst>
                  <a:ext uri="{FF2B5EF4-FFF2-40B4-BE49-F238E27FC236}">
                    <a16:creationId xmlns:a16="http://schemas.microsoft.com/office/drawing/2014/main" id="{10B22EB3-5071-BD0C-4EB5-3A415B1EE8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9C38D8D7-E9F6-1069-87CE-4E9C41BBBBA3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:a16="http://schemas.microsoft.com/office/drawing/2014/main" id="{F4F69A46-EE78-30BE-85D0-229381C659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F93A3DDE-36C2-50B2-2100-7289C06094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6CAB9A8A-1C59-7544-4064-EBD0768ABFDA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" name="Rectangle 5">
                <a:extLst>
                  <a:ext uri="{FF2B5EF4-FFF2-40B4-BE49-F238E27FC236}">
                    <a16:creationId xmlns:a16="http://schemas.microsoft.com/office/drawing/2014/main" id="{E1801A3B-6AE6-59DA-708E-743E9D805E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7">
                <a:extLst>
                  <a:ext uri="{FF2B5EF4-FFF2-40B4-BE49-F238E27FC236}">
                    <a16:creationId xmlns:a16="http://schemas.microsoft.com/office/drawing/2014/main" id="{1A162AFC-BD32-69EE-37B4-1684718C70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9">
                <a:extLst>
                  <a:ext uri="{FF2B5EF4-FFF2-40B4-BE49-F238E27FC236}">
                    <a16:creationId xmlns:a16="http://schemas.microsoft.com/office/drawing/2014/main" id="{356661F3-5009-666F-5E0D-F775DBB9F8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11">
                <a:extLst>
                  <a:ext uri="{FF2B5EF4-FFF2-40B4-BE49-F238E27FC236}">
                    <a16:creationId xmlns:a16="http://schemas.microsoft.com/office/drawing/2014/main" id="{4AF0FE03-2E0A-578A-AF08-C27119B496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3">
                <a:extLst>
                  <a:ext uri="{FF2B5EF4-FFF2-40B4-BE49-F238E27FC236}">
                    <a16:creationId xmlns:a16="http://schemas.microsoft.com/office/drawing/2014/main" id="{82367EFE-3F17-CDF4-FBF9-0F2B3FE1BE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3" name="Live area">
              <a:extLst>
                <a:ext uri="{FF2B5EF4-FFF2-40B4-BE49-F238E27FC236}">
                  <a16:creationId xmlns:a16="http://schemas.microsoft.com/office/drawing/2014/main" id="{D6CBDEF2-74C4-4AC7-25D7-F1EF3CEFF19E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DC5BE382-09A9-DC58-E580-8D2778913422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94586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BD8AAD3A-4BA8-C6C0-BEF4-F07B136DD32E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E8F40D71-2474-3BFE-2AC8-1F9FAC1FAAB1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229547BF-46D8-2F07-4EDB-D52AA50A0ABC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14A8DBCF-8125-50DF-8D85-2FE8D765D69C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BB5DC483-E73F-379D-72F0-27C3B6D95C48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0D903777-94EA-23A7-95F4-A5127609E736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24DEAAC0-95AD-6664-168B-FBFC10747EDA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4A622BFC-C08B-A04F-3F23-F63198152D54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140B08B0-8876-1E33-5E9C-59A5ED4C62C2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0848D573-5337-976A-CB48-4F081A3B63E4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B1BF68E8-C507-1968-A963-7D5FD2C3A95E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68565FCD-1AA7-3309-CE00-497D9CEDAD34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AABB8E2A-AA06-826B-3EDC-F59636AF7E50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45A38207-72E5-81B9-915F-AD7ECD9F7277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B08C6511-1A9E-39C3-7F7E-8FF44F91DFD4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71362570-4782-394E-A684-8A0F3424C539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2A46672C-D2B8-71F5-5BF3-693BBA43E96F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F51F805D-451D-FD26-984D-DD37C989E018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3731D28D-1E1A-3C58-C013-BD73662008DD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DE7E9CA8-DF01-8CEB-70C7-21B01C69B1A2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676D7F82-51D3-914B-3486-25CAC02BE171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A92D1638-F9AD-C6A3-BAF7-912BC2B173A7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307CE999-8CD8-32EE-7481-BE2084227466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6C9B998D-F8B1-7D0A-1450-314236E622F0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0" name="Rectangle 34">
                <a:extLst>
                  <a:ext uri="{FF2B5EF4-FFF2-40B4-BE49-F238E27FC236}">
                    <a16:creationId xmlns:a16="http://schemas.microsoft.com/office/drawing/2014/main" id="{4A9F0DD0-BEEA-FE2B-44C8-BBEC5CC0E9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35">
                <a:extLst>
                  <a:ext uri="{FF2B5EF4-FFF2-40B4-BE49-F238E27FC236}">
                    <a16:creationId xmlns:a16="http://schemas.microsoft.com/office/drawing/2014/main" id="{CAF76458-FF0D-71AE-A0ED-DF4E9F58F0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6">
                <a:extLst>
                  <a:ext uri="{FF2B5EF4-FFF2-40B4-BE49-F238E27FC236}">
                    <a16:creationId xmlns:a16="http://schemas.microsoft.com/office/drawing/2014/main" id="{21CA625A-3BD3-1879-1570-38102D8A58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7">
                <a:extLst>
                  <a:ext uri="{FF2B5EF4-FFF2-40B4-BE49-F238E27FC236}">
                    <a16:creationId xmlns:a16="http://schemas.microsoft.com/office/drawing/2014/main" id="{EAE55BCD-04CA-C828-0891-9CBF602206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8">
                <a:extLst>
                  <a:ext uri="{FF2B5EF4-FFF2-40B4-BE49-F238E27FC236}">
                    <a16:creationId xmlns:a16="http://schemas.microsoft.com/office/drawing/2014/main" id="{C42330B9-0C6C-F545-DCB0-4CA57CAEC1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9">
                <a:extLst>
                  <a:ext uri="{FF2B5EF4-FFF2-40B4-BE49-F238E27FC236}">
                    <a16:creationId xmlns:a16="http://schemas.microsoft.com/office/drawing/2014/main" id="{4013B47C-5FB9-7EA5-9533-91E6A04697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40">
                <a:extLst>
                  <a:ext uri="{FF2B5EF4-FFF2-40B4-BE49-F238E27FC236}">
                    <a16:creationId xmlns:a16="http://schemas.microsoft.com/office/drawing/2014/main" id="{4C46425D-0DAE-8DB2-CA03-3C3C2BBDE7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1">
                <a:extLst>
                  <a:ext uri="{FF2B5EF4-FFF2-40B4-BE49-F238E27FC236}">
                    <a16:creationId xmlns:a16="http://schemas.microsoft.com/office/drawing/2014/main" id="{B27D1428-DEE0-3674-014D-8AF3BF9E42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2">
                <a:extLst>
                  <a:ext uri="{FF2B5EF4-FFF2-40B4-BE49-F238E27FC236}">
                    <a16:creationId xmlns:a16="http://schemas.microsoft.com/office/drawing/2014/main" id="{5C100D9D-57DB-A10A-62EF-32F5439618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3">
                <a:extLst>
                  <a:ext uri="{FF2B5EF4-FFF2-40B4-BE49-F238E27FC236}">
                    <a16:creationId xmlns:a16="http://schemas.microsoft.com/office/drawing/2014/main" id="{1F08B753-FE4A-7AD0-5E13-AA999C8148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4">
                <a:extLst>
                  <a:ext uri="{FF2B5EF4-FFF2-40B4-BE49-F238E27FC236}">
                    <a16:creationId xmlns:a16="http://schemas.microsoft.com/office/drawing/2014/main" id="{1F00EFF2-53A1-31DD-BF04-3592E98680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8" name="Slide edges">
              <a:extLst>
                <a:ext uri="{FF2B5EF4-FFF2-40B4-BE49-F238E27FC236}">
                  <a16:creationId xmlns:a16="http://schemas.microsoft.com/office/drawing/2014/main" id="{59C444C0-EE6C-0670-F953-30286186F806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0" name="Footnote measure">
              <a:extLst>
                <a:ext uri="{FF2B5EF4-FFF2-40B4-BE49-F238E27FC236}">
                  <a16:creationId xmlns:a16="http://schemas.microsoft.com/office/drawing/2014/main" id="{5F9DF5C4-A5B0-D353-BA97-38A3E2907E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76111A26-22F8-BA14-B376-16BC985986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A873E890-FB72-9050-4616-E8D60B0B29DC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" name="Rectangle 5">
                <a:extLst>
                  <a:ext uri="{FF2B5EF4-FFF2-40B4-BE49-F238E27FC236}">
                    <a16:creationId xmlns:a16="http://schemas.microsoft.com/office/drawing/2014/main" id="{F776F7F5-9DE7-1CDA-3FDF-2217FA6395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7">
                <a:extLst>
                  <a:ext uri="{FF2B5EF4-FFF2-40B4-BE49-F238E27FC236}">
                    <a16:creationId xmlns:a16="http://schemas.microsoft.com/office/drawing/2014/main" id="{C1A4E605-DADB-21AD-648A-B478F60B3E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9">
                <a:extLst>
                  <a:ext uri="{FF2B5EF4-FFF2-40B4-BE49-F238E27FC236}">
                    <a16:creationId xmlns:a16="http://schemas.microsoft.com/office/drawing/2014/main" id="{D4C350D2-99E5-AD2E-9F03-57E7E14DAB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11">
                <a:extLst>
                  <a:ext uri="{FF2B5EF4-FFF2-40B4-BE49-F238E27FC236}">
                    <a16:creationId xmlns:a16="http://schemas.microsoft.com/office/drawing/2014/main" id="{8833CCCE-FB6C-1549-2ABB-927C0C00528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3">
                <a:extLst>
                  <a:ext uri="{FF2B5EF4-FFF2-40B4-BE49-F238E27FC236}">
                    <a16:creationId xmlns:a16="http://schemas.microsoft.com/office/drawing/2014/main" id="{F1804BBF-DE87-72F7-9E9E-66B0072E8A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3" name="Live area">
              <a:extLst>
                <a:ext uri="{FF2B5EF4-FFF2-40B4-BE49-F238E27FC236}">
                  <a16:creationId xmlns:a16="http://schemas.microsoft.com/office/drawing/2014/main" id="{6FC522CC-E915-F746-4A50-635F6374DF33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D6B30CE3-3A99-CEDE-BC45-C841AB0D4F0F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19961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9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B8C26CB-65B4-2038-91E7-FA6998900891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C44C7806-4A31-0808-767B-C9070F08A14A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A710E714-7F91-E802-6FAC-CC8CD39D9318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B4799581-49D3-F22D-C007-89867B686DF9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74644D1E-DD56-A6A8-FC15-4EE92484806A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B3543744-1F5F-66EF-72AE-897A50D662F9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89355F83-89D9-2E6B-698F-96E7587CCF7B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AE82A1AA-9693-1DF3-C351-0298897F9A82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7ACF76D5-043A-E969-88A8-028D1BB8378C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19D864B0-012C-0209-29C5-22FA2AAA2AE3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08B66C1D-8ACF-F3E9-92F4-DC9E31E1D3F2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941D29B0-2022-591F-D8D1-202176ABA63E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8790B98D-8ACD-2C91-86C6-590989DCD849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27737176-81B1-2FDB-8666-01B69E0933DB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71698340-159A-ED04-4B24-01D1D7C84C61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6F4D7575-2648-EC21-9C90-74F3D6F6AC10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5072ED52-F33D-A5F9-C491-8E3E35A51DC1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14C5400D-6DBD-E005-1B6D-5E3840DD0CDF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FB9DAC99-0A45-AA06-6BA6-3D460BF4D3D5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F59F1C4D-395A-1451-27D3-BD68B173403A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DDE1BFF6-E7E4-3B18-8434-F6038E28745E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B53E18C8-0E21-EA86-BB38-67D4B53FA56D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24C54585-2ABF-660E-A231-A08585916DE0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7AFB2EC8-7686-864C-B16A-1AF90E35D9EF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9" name="Rectangle 34">
                <a:extLst>
                  <a:ext uri="{FF2B5EF4-FFF2-40B4-BE49-F238E27FC236}">
                    <a16:creationId xmlns:a16="http://schemas.microsoft.com/office/drawing/2014/main" id="{C50CDCA6-C9C9-ADCC-43FF-88BEDEA64C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35">
                <a:extLst>
                  <a:ext uri="{FF2B5EF4-FFF2-40B4-BE49-F238E27FC236}">
                    <a16:creationId xmlns:a16="http://schemas.microsoft.com/office/drawing/2014/main" id="{E3C6D769-098A-2E7C-E936-8CD3B9FF70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36">
                <a:extLst>
                  <a:ext uri="{FF2B5EF4-FFF2-40B4-BE49-F238E27FC236}">
                    <a16:creationId xmlns:a16="http://schemas.microsoft.com/office/drawing/2014/main" id="{167E9D91-E27F-0827-ED60-C7E64733EC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7">
                <a:extLst>
                  <a:ext uri="{FF2B5EF4-FFF2-40B4-BE49-F238E27FC236}">
                    <a16:creationId xmlns:a16="http://schemas.microsoft.com/office/drawing/2014/main" id="{01D3DD48-02EF-E290-011A-203AA77346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8">
                <a:extLst>
                  <a:ext uri="{FF2B5EF4-FFF2-40B4-BE49-F238E27FC236}">
                    <a16:creationId xmlns:a16="http://schemas.microsoft.com/office/drawing/2014/main" id="{CA1E1A60-DB79-140E-BF97-2AE15973AD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9">
                <a:extLst>
                  <a:ext uri="{FF2B5EF4-FFF2-40B4-BE49-F238E27FC236}">
                    <a16:creationId xmlns:a16="http://schemas.microsoft.com/office/drawing/2014/main" id="{B07F55B3-C00D-FB3F-182C-9E8C3A44A6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0">
                <a:extLst>
                  <a:ext uri="{FF2B5EF4-FFF2-40B4-BE49-F238E27FC236}">
                    <a16:creationId xmlns:a16="http://schemas.microsoft.com/office/drawing/2014/main" id="{E8F4915C-8275-1613-FD7E-716FCD5FA88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1">
                <a:extLst>
                  <a:ext uri="{FF2B5EF4-FFF2-40B4-BE49-F238E27FC236}">
                    <a16:creationId xmlns:a16="http://schemas.microsoft.com/office/drawing/2014/main" id="{AC012127-D1A2-8E73-AD9C-17F4C9EA8D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2">
                <a:extLst>
                  <a:ext uri="{FF2B5EF4-FFF2-40B4-BE49-F238E27FC236}">
                    <a16:creationId xmlns:a16="http://schemas.microsoft.com/office/drawing/2014/main" id="{21CFEF34-BBD9-D683-BE13-BAA9C34A27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3">
                <a:extLst>
                  <a:ext uri="{FF2B5EF4-FFF2-40B4-BE49-F238E27FC236}">
                    <a16:creationId xmlns:a16="http://schemas.microsoft.com/office/drawing/2014/main" id="{258D1CB3-0502-5FEB-94E5-47E76C0DF4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4">
                <a:extLst>
                  <a:ext uri="{FF2B5EF4-FFF2-40B4-BE49-F238E27FC236}">
                    <a16:creationId xmlns:a16="http://schemas.microsoft.com/office/drawing/2014/main" id="{6865226A-4739-85AA-9EF3-AA06BCA951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C1E48541-BF43-66BF-C7D0-D4416C1601BB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" name="Footnote measure">
              <a:extLst>
                <a:ext uri="{FF2B5EF4-FFF2-40B4-BE49-F238E27FC236}">
                  <a16:creationId xmlns:a16="http://schemas.microsoft.com/office/drawing/2014/main" id="{D95A1936-A6E4-06E1-0715-AA7E16CA33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Whitespace measure">
              <a:extLst>
                <a:ext uri="{FF2B5EF4-FFF2-40B4-BE49-F238E27FC236}">
                  <a16:creationId xmlns:a16="http://schemas.microsoft.com/office/drawing/2014/main" id="{DE792B22-CA25-750E-1E58-ECE2A2B5E8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Five column measure">
              <a:extLst>
                <a:ext uri="{FF2B5EF4-FFF2-40B4-BE49-F238E27FC236}">
                  <a16:creationId xmlns:a16="http://schemas.microsoft.com/office/drawing/2014/main" id="{33384348-2BBA-D4CC-927D-15CC44C3DAD3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4" name="Rectangle 5">
                <a:extLst>
                  <a:ext uri="{FF2B5EF4-FFF2-40B4-BE49-F238E27FC236}">
                    <a16:creationId xmlns:a16="http://schemas.microsoft.com/office/drawing/2014/main" id="{4257EC65-AAA5-26B3-154C-CDB169493B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Rectangle 7">
                <a:extLst>
                  <a:ext uri="{FF2B5EF4-FFF2-40B4-BE49-F238E27FC236}">
                    <a16:creationId xmlns:a16="http://schemas.microsoft.com/office/drawing/2014/main" id="{6FA82C4B-054E-84CE-3DC3-85ACCA1E4E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9">
                <a:extLst>
                  <a:ext uri="{FF2B5EF4-FFF2-40B4-BE49-F238E27FC236}">
                    <a16:creationId xmlns:a16="http://schemas.microsoft.com/office/drawing/2014/main" id="{782AA1AB-8A40-172A-643A-ADD58F0444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11">
                <a:extLst>
                  <a:ext uri="{FF2B5EF4-FFF2-40B4-BE49-F238E27FC236}">
                    <a16:creationId xmlns:a16="http://schemas.microsoft.com/office/drawing/2014/main" id="{C792D1CB-4416-5C5F-DC0B-A0787F37AC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13">
                <a:extLst>
                  <a:ext uri="{FF2B5EF4-FFF2-40B4-BE49-F238E27FC236}">
                    <a16:creationId xmlns:a16="http://schemas.microsoft.com/office/drawing/2014/main" id="{46CC7EA3-BD68-47A0-F335-9CF580519D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" name="Live area">
              <a:extLst>
                <a:ext uri="{FF2B5EF4-FFF2-40B4-BE49-F238E27FC236}">
                  <a16:creationId xmlns:a16="http://schemas.microsoft.com/office/drawing/2014/main" id="{256F40DD-7ED1-242C-5CD9-AE49E8CE0283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3" name="Footnote example">
              <a:extLst>
                <a:ext uri="{FF2B5EF4-FFF2-40B4-BE49-F238E27FC236}">
                  <a16:creationId xmlns:a16="http://schemas.microsoft.com/office/drawing/2014/main" id="{8D3DBAFA-9B90-4FCF-69FA-EE0C72704427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38669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974C62D5-9EB9-4252-1770-34A4BE34E8B7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D187CAE6-B625-0EF9-2DEC-4E7DC8D4B689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F67581A9-70B0-2808-6C83-EAC62245B8D9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5E037942-D76E-51E4-4E3F-7C415FFFBF48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E4C84BB9-573A-4571-FBD8-D46783429896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DCC159A9-9A06-9DC6-6ED7-77FAB3FACDD5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E08C9F0C-86AD-4487-8468-A42519C9571B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6BBF1C3C-BE84-8D1C-487A-FC2F60843D78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197E3D6F-27B5-957B-BF1B-82A8349027C4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75B51453-9D29-7167-199C-56809B759C73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1B1FC34D-8251-03C6-56EB-A55B1A2C26FE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01403AC0-F31D-AAF4-F666-308046392956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5387941B-D119-884C-0C1F-E7D719718209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4AD8B9D5-4688-7CC6-E2B9-AA384C83F472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677815D5-32F6-6ECE-E5CF-8FC7643AAF1F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874D43A6-9E70-73BC-FC13-DB73AEADBAC5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79CAD7C3-EF1B-772A-C9D8-401870119616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9D35B2C9-1BA1-C419-9654-7C7C4A47FF75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4FADE188-B10B-4028-030F-40F312DE4700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44A591A5-CA58-CBA8-3F3D-BBCB8B05A94E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AC56E378-8BE0-9A72-179E-739EF2E9EBC7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1C6710F9-EBDA-D966-F888-F25BE0DAC50E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68B1FF72-AA00-C164-1D76-A4CA16B96C6F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7E9B83AF-CA3F-3FC5-4E1B-EE65F1C7203E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3" name="Rectangle 34">
                <a:extLst>
                  <a:ext uri="{FF2B5EF4-FFF2-40B4-BE49-F238E27FC236}">
                    <a16:creationId xmlns:a16="http://schemas.microsoft.com/office/drawing/2014/main" id="{910BC585-16CF-800D-2334-930F923A47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5">
                <a:extLst>
                  <a:ext uri="{FF2B5EF4-FFF2-40B4-BE49-F238E27FC236}">
                    <a16:creationId xmlns:a16="http://schemas.microsoft.com/office/drawing/2014/main" id="{3F9E8C26-8625-0F03-FBBE-53CB219057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6">
                <a:extLst>
                  <a:ext uri="{FF2B5EF4-FFF2-40B4-BE49-F238E27FC236}">
                    <a16:creationId xmlns:a16="http://schemas.microsoft.com/office/drawing/2014/main" id="{8F4DF986-62D3-C4ED-1B88-D9A70EDF0E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7">
                <a:extLst>
                  <a:ext uri="{FF2B5EF4-FFF2-40B4-BE49-F238E27FC236}">
                    <a16:creationId xmlns:a16="http://schemas.microsoft.com/office/drawing/2014/main" id="{79D089F7-5622-026E-3143-2A3CB26E38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8">
                <a:extLst>
                  <a:ext uri="{FF2B5EF4-FFF2-40B4-BE49-F238E27FC236}">
                    <a16:creationId xmlns:a16="http://schemas.microsoft.com/office/drawing/2014/main" id="{4DD4FE52-16B5-DF67-D2D1-334C32D0C7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39">
                <a:extLst>
                  <a:ext uri="{FF2B5EF4-FFF2-40B4-BE49-F238E27FC236}">
                    <a16:creationId xmlns:a16="http://schemas.microsoft.com/office/drawing/2014/main" id="{E18E8AFB-6B11-259E-B9CA-7AAE7E4508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0">
                <a:extLst>
                  <a:ext uri="{FF2B5EF4-FFF2-40B4-BE49-F238E27FC236}">
                    <a16:creationId xmlns:a16="http://schemas.microsoft.com/office/drawing/2014/main" id="{08F33D0F-A36B-F8FC-CFE7-454CFEAB74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1">
                <a:extLst>
                  <a:ext uri="{FF2B5EF4-FFF2-40B4-BE49-F238E27FC236}">
                    <a16:creationId xmlns:a16="http://schemas.microsoft.com/office/drawing/2014/main" id="{48667296-9D61-6C86-4DED-7CFEB9B095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2">
                <a:extLst>
                  <a:ext uri="{FF2B5EF4-FFF2-40B4-BE49-F238E27FC236}">
                    <a16:creationId xmlns:a16="http://schemas.microsoft.com/office/drawing/2014/main" id="{D14707C2-E913-CF6F-B5F4-D77BEDE252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3">
                <a:extLst>
                  <a:ext uri="{FF2B5EF4-FFF2-40B4-BE49-F238E27FC236}">
                    <a16:creationId xmlns:a16="http://schemas.microsoft.com/office/drawing/2014/main" id="{83B94E7B-4925-DCBB-034B-5AABD38326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44">
                <a:extLst>
                  <a:ext uri="{FF2B5EF4-FFF2-40B4-BE49-F238E27FC236}">
                    <a16:creationId xmlns:a16="http://schemas.microsoft.com/office/drawing/2014/main" id="{58CF370E-12FB-1642-C4BA-FC1BA9E1CF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4B8CAA7B-A80C-B2E3-B57C-0573A8BE6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" name="Footnote measure">
              <a:extLst>
                <a:ext uri="{FF2B5EF4-FFF2-40B4-BE49-F238E27FC236}">
                  <a16:creationId xmlns:a16="http://schemas.microsoft.com/office/drawing/2014/main" id="{34FD3AD2-0BA3-FD5D-4B05-343C096FC0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Whitespace measure">
              <a:extLst>
                <a:ext uri="{FF2B5EF4-FFF2-40B4-BE49-F238E27FC236}">
                  <a16:creationId xmlns:a16="http://schemas.microsoft.com/office/drawing/2014/main" id="{F9EF54AC-E1CC-3463-854D-CA7641FF48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Five column measure">
              <a:extLst>
                <a:ext uri="{FF2B5EF4-FFF2-40B4-BE49-F238E27FC236}">
                  <a16:creationId xmlns:a16="http://schemas.microsoft.com/office/drawing/2014/main" id="{71295B67-A19E-FA77-A842-F0156A7C3DD0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" name="Rectangle 5">
                <a:extLst>
                  <a:ext uri="{FF2B5EF4-FFF2-40B4-BE49-F238E27FC236}">
                    <a16:creationId xmlns:a16="http://schemas.microsoft.com/office/drawing/2014/main" id="{625EDE0E-5CEC-978E-867F-7462F105AD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7">
                <a:extLst>
                  <a:ext uri="{FF2B5EF4-FFF2-40B4-BE49-F238E27FC236}">
                    <a16:creationId xmlns:a16="http://schemas.microsoft.com/office/drawing/2014/main" id="{0A31812E-F443-8D73-8E11-4FA54091A5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9">
                <a:extLst>
                  <a:ext uri="{FF2B5EF4-FFF2-40B4-BE49-F238E27FC236}">
                    <a16:creationId xmlns:a16="http://schemas.microsoft.com/office/drawing/2014/main" id="{3EF15336-FF12-B416-4873-D5E36E6E25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1">
                <a:extLst>
                  <a:ext uri="{FF2B5EF4-FFF2-40B4-BE49-F238E27FC236}">
                    <a16:creationId xmlns:a16="http://schemas.microsoft.com/office/drawing/2014/main" id="{99EB43BE-710E-E73D-9E14-D068152845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13">
                <a:extLst>
                  <a:ext uri="{FF2B5EF4-FFF2-40B4-BE49-F238E27FC236}">
                    <a16:creationId xmlns:a16="http://schemas.microsoft.com/office/drawing/2014/main" id="{FFCC2593-D134-2A02-269A-1FFF60246E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" name="Live area">
              <a:extLst>
                <a:ext uri="{FF2B5EF4-FFF2-40B4-BE49-F238E27FC236}">
                  <a16:creationId xmlns:a16="http://schemas.microsoft.com/office/drawing/2014/main" id="{71770124-0D13-E4C3-39BD-3C85DB55125D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2580DA0E-109D-939A-0F91-856EFBCD5336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556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2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F8E775C-9568-87FA-EC9C-BF3544568D21}"/>
              </a:ext>
            </a:extLst>
          </p:cNvPr>
          <p:cNvGrpSpPr/>
          <p:nvPr userDrawn="1">
            <p:custDataLst>
              <p:tags r:id="rId4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" name="No fly zone">
              <a:extLst>
                <a:ext uri="{FF2B5EF4-FFF2-40B4-BE49-F238E27FC236}">
                  <a16:creationId xmlns:a16="http://schemas.microsoft.com/office/drawing/2014/main" id="{5CD4C03F-697B-84C9-925E-66200BC91F41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6" name="Baselines / anchors">
              <a:extLst>
                <a:ext uri="{FF2B5EF4-FFF2-40B4-BE49-F238E27FC236}">
                  <a16:creationId xmlns:a16="http://schemas.microsoft.com/office/drawing/2014/main" id="{3412209F-583B-EF5E-6A65-C9959C4E1844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78D91E66-52C1-8210-1680-A283BF13CE33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3383D696-E2C5-0576-1C35-7EAF43E01624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71F4451C-FE5A-45A8-1730-2D0ACABF90FF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11196B68-5643-52D5-C3B9-A616D7B87432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37583954-B6F9-9803-2275-26ABBAD27738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153ADDD5-EF0A-3670-8B4F-A75CE45928B8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64C5C4B4-5325-948F-A640-D58B8569913D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C57DB417-7166-A391-8835-4DB0C7455555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7013F917-4612-1A73-96DC-10206F385DB6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8251AB0A-74F5-970E-17E0-73B6C1430227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13F7CF4D-F064-68D6-77D1-0F3458E523F2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8D4408C5-B79C-DE7B-03F3-7D0D1BE24384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C292FE04-779C-137B-0ABC-69654CC12491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73E59DF0-3AF7-CD32-93C0-68C76E54569F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68FB639C-0EFD-516D-6FBF-DA9902594F84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E6B6A2A1-849A-3C4B-30B1-1FEEF0CCA2C3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A9620C0C-6E6C-6B7B-473B-D0C9C1808020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68829C76-F71C-A862-88F8-0DACD0A61381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4BDF1727-2CC4-9786-4A38-DA606EFFDF66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A118BE63-4E26-9B93-3873-DFBCC4F5F847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utter space">
              <a:extLst>
                <a:ext uri="{FF2B5EF4-FFF2-40B4-BE49-F238E27FC236}">
                  <a16:creationId xmlns:a16="http://schemas.microsoft.com/office/drawing/2014/main" id="{EBA30377-D087-9CB3-44F5-51D5C24FABCC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3" name="Rectangle 34">
                <a:extLst>
                  <a:ext uri="{FF2B5EF4-FFF2-40B4-BE49-F238E27FC236}">
                    <a16:creationId xmlns:a16="http://schemas.microsoft.com/office/drawing/2014/main" id="{CC4C7D51-E1A5-2BF5-BDC5-B6527D8ED1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5">
                <a:extLst>
                  <a:ext uri="{FF2B5EF4-FFF2-40B4-BE49-F238E27FC236}">
                    <a16:creationId xmlns:a16="http://schemas.microsoft.com/office/drawing/2014/main" id="{5108AA76-B0EA-F26E-B096-0B9DB04C8F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6">
                <a:extLst>
                  <a:ext uri="{FF2B5EF4-FFF2-40B4-BE49-F238E27FC236}">
                    <a16:creationId xmlns:a16="http://schemas.microsoft.com/office/drawing/2014/main" id="{FB0A0DD1-75B8-9983-9096-0CFFBCCADB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7">
                <a:extLst>
                  <a:ext uri="{FF2B5EF4-FFF2-40B4-BE49-F238E27FC236}">
                    <a16:creationId xmlns:a16="http://schemas.microsoft.com/office/drawing/2014/main" id="{21C3183E-40E8-7872-313E-E6F7886EE8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8">
                <a:extLst>
                  <a:ext uri="{FF2B5EF4-FFF2-40B4-BE49-F238E27FC236}">
                    <a16:creationId xmlns:a16="http://schemas.microsoft.com/office/drawing/2014/main" id="{ABB57BC0-B84B-0DA8-9822-13C95FB65A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39">
                <a:extLst>
                  <a:ext uri="{FF2B5EF4-FFF2-40B4-BE49-F238E27FC236}">
                    <a16:creationId xmlns:a16="http://schemas.microsoft.com/office/drawing/2014/main" id="{76EB24B4-3B07-EB6B-3543-FD61FEA83C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0">
                <a:extLst>
                  <a:ext uri="{FF2B5EF4-FFF2-40B4-BE49-F238E27FC236}">
                    <a16:creationId xmlns:a16="http://schemas.microsoft.com/office/drawing/2014/main" id="{0FD7B692-ACA9-E651-C4BE-D921FCECC9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1">
                <a:extLst>
                  <a:ext uri="{FF2B5EF4-FFF2-40B4-BE49-F238E27FC236}">
                    <a16:creationId xmlns:a16="http://schemas.microsoft.com/office/drawing/2014/main" id="{4B961EF8-61DC-6C19-E6B5-B8B9949AC3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2">
                <a:extLst>
                  <a:ext uri="{FF2B5EF4-FFF2-40B4-BE49-F238E27FC236}">
                    <a16:creationId xmlns:a16="http://schemas.microsoft.com/office/drawing/2014/main" id="{2F9C19C3-604F-AEE8-F043-C15E9DDB17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3">
                <a:extLst>
                  <a:ext uri="{FF2B5EF4-FFF2-40B4-BE49-F238E27FC236}">
                    <a16:creationId xmlns:a16="http://schemas.microsoft.com/office/drawing/2014/main" id="{969C3D71-431A-C175-648B-9D37DFBA69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44">
                <a:extLst>
                  <a:ext uri="{FF2B5EF4-FFF2-40B4-BE49-F238E27FC236}">
                    <a16:creationId xmlns:a16="http://schemas.microsoft.com/office/drawing/2014/main" id="{9609A4A6-92D9-C621-8D72-1258989505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9" name="Slide edges">
              <a:extLst>
                <a:ext uri="{FF2B5EF4-FFF2-40B4-BE49-F238E27FC236}">
                  <a16:creationId xmlns:a16="http://schemas.microsoft.com/office/drawing/2014/main" id="{00486D17-C86E-332A-993E-2DB4BBF8C4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3" name="Footnote measure">
              <a:extLst>
                <a:ext uri="{FF2B5EF4-FFF2-40B4-BE49-F238E27FC236}">
                  <a16:creationId xmlns:a16="http://schemas.microsoft.com/office/drawing/2014/main" id="{3ABC028D-13AB-6C92-DADB-3CE14D7EF7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Whitespace measure">
              <a:extLst>
                <a:ext uri="{FF2B5EF4-FFF2-40B4-BE49-F238E27FC236}">
                  <a16:creationId xmlns:a16="http://schemas.microsoft.com/office/drawing/2014/main" id="{AE85821E-1A79-A83E-9000-7E4273BFB0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5" name="Five column measure">
              <a:extLst>
                <a:ext uri="{FF2B5EF4-FFF2-40B4-BE49-F238E27FC236}">
                  <a16:creationId xmlns:a16="http://schemas.microsoft.com/office/drawing/2014/main" id="{C902ED2D-C38F-040D-A7C6-51A2AD129E29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8" name="Rectangle 5">
                <a:extLst>
                  <a:ext uri="{FF2B5EF4-FFF2-40B4-BE49-F238E27FC236}">
                    <a16:creationId xmlns:a16="http://schemas.microsoft.com/office/drawing/2014/main" id="{B1D7C687-7EE2-4BE1-9192-02184ABCC3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7">
                <a:extLst>
                  <a:ext uri="{FF2B5EF4-FFF2-40B4-BE49-F238E27FC236}">
                    <a16:creationId xmlns:a16="http://schemas.microsoft.com/office/drawing/2014/main" id="{3EB4E6B9-C48F-7667-EC81-727EB1370D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9">
                <a:extLst>
                  <a:ext uri="{FF2B5EF4-FFF2-40B4-BE49-F238E27FC236}">
                    <a16:creationId xmlns:a16="http://schemas.microsoft.com/office/drawing/2014/main" id="{F4672977-22EB-39A5-2C59-90EE759BE4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1">
                <a:extLst>
                  <a:ext uri="{FF2B5EF4-FFF2-40B4-BE49-F238E27FC236}">
                    <a16:creationId xmlns:a16="http://schemas.microsoft.com/office/drawing/2014/main" id="{B3F68A5E-CECD-E6F4-C565-1DEF2397C4C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13">
                <a:extLst>
                  <a:ext uri="{FF2B5EF4-FFF2-40B4-BE49-F238E27FC236}">
                    <a16:creationId xmlns:a16="http://schemas.microsoft.com/office/drawing/2014/main" id="{2AC6C7E9-12B0-2B25-A180-4F67D2C062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6" name="Live area">
              <a:extLst>
                <a:ext uri="{FF2B5EF4-FFF2-40B4-BE49-F238E27FC236}">
                  <a16:creationId xmlns:a16="http://schemas.microsoft.com/office/drawing/2014/main" id="{B36FA5A0-281D-902F-955E-7D8AF7112BD4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7" name="Footnote example">
              <a:extLst>
                <a:ext uri="{FF2B5EF4-FFF2-40B4-BE49-F238E27FC236}">
                  <a16:creationId xmlns:a16="http://schemas.microsoft.com/office/drawing/2014/main" id="{72922A3F-AAC6-0CEF-8EF1-E83CFDAE1A07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89185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8800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091B0EB-6DEE-19FD-603E-C22F4D2171AC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536A9961-9B07-3FB3-3C49-8A951AB653A2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4FD9000E-1A33-5EEF-6421-EFCF7D1F72D6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A9A74934-E3AE-A415-062B-1E223ED09AF8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791F3DD3-4937-97F3-F232-15D01D58006E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14F8AC89-B9BE-07BA-9C6A-DD94A5015F22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1CA06374-6339-7899-36F8-17376B6EF742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83A8B089-4904-F8EF-3720-6C9DF9D794FD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1B13D597-8BEA-5576-ECC9-C397865B9903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53E80545-B7AD-07C3-8FD7-8BA7AC17E14D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883A5219-2A0A-59B4-AF83-3B015228EE05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BC790129-D7F7-1346-6472-27FBD7FAC835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79638586-6308-A66A-3BA2-0BD41A1C01BE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77E9E187-A97A-00EA-2B47-6A6BE259EABE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EADB20DC-F9A2-FB47-D8F2-5B7B7FCB3421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669A8E3B-7C57-99B2-4D4B-C2034C4A2609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CC113A99-34E0-B6E5-AACD-7488B82BF527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D2B3FD89-574B-0B52-1A6D-239AC884A4BE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4ED74B9E-E5C3-D637-7F8F-10E2684BF90B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90F8AA6E-4097-F13B-969E-23A6A665C807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7AB33B7D-E3FB-AC73-B557-D56E4963C3BD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9E1BD6E2-6014-EAD7-33AE-095F40F0BD9F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0BFF188B-1913-6D8B-AA26-947DFC320CE0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08D1CCE4-F96C-D9A9-6960-A5AB34D45E15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1" name="Rectangle 34">
                <a:extLst>
                  <a:ext uri="{FF2B5EF4-FFF2-40B4-BE49-F238E27FC236}">
                    <a16:creationId xmlns:a16="http://schemas.microsoft.com/office/drawing/2014/main" id="{A71109C0-2364-A883-150B-E82E878121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5">
                <a:extLst>
                  <a:ext uri="{FF2B5EF4-FFF2-40B4-BE49-F238E27FC236}">
                    <a16:creationId xmlns:a16="http://schemas.microsoft.com/office/drawing/2014/main" id="{CD0E091C-FDCC-9862-C5B9-BFF57356E4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6">
                <a:extLst>
                  <a:ext uri="{FF2B5EF4-FFF2-40B4-BE49-F238E27FC236}">
                    <a16:creationId xmlns:a16="http://schemas.microsoft.com/office/drawing/2014/main" id="{734EB1BF-23EC-27B7-AA52-0BD00DBEF7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7">
                <a:extLst>
                  <a:ext uri="{FF2B5EF4-FFF2-40B4-BE49-F238E27FC236}">
                    <a16:creationId xmlns:a16="http://schemas.microsoft.com/office/drawing/2014/main" id="{D086B59D-152F-7C1C-2987-C270431A81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8">
                <a:extLst>
                  <a:ext uri="{FF2B5EF4-FFF2-40B4-BE49-F238E27FC236}">
                    <a16:creationId xmlns:a16="http://schemas.microsoft.com/office/drawing/2014/main" id="{6D18D6F4-23BD-09C2-8FB0-6AC1C51B21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9">
                <a:extLst>
                  <a:ext uri="{FF2B5EF4-FFF2-40B4-BE49-F238E27FC236}">
                    <a16:creationId xmlns:a16="http://schemas.microsoft.com/office/drawing/2014/main" id="{01222564-06FC-1D09-B437-8BCD5E6B43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0">
                <a:extLst>
                  <a:ext uri="{FF2B5EF4-FFF2-40B4-BE49-F238E27FC236}">
                    <a16:creationId xmlns:a16="http://schemas.microsoft.com/office/drawing/2014/main" id="{EF7B7BFA-8BAC-BF21-ED85-0E8CD27C88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1">
                <a:extLst>
                  <a:ext uri="{FF2B5EF4-FFF2-40B4-BE49-F238E27FC236}">
                    <a16:creationId xmlns:a16="http://schemas.microsoft.com/office/drawing/2014/main" id="{5585BF08-FF36-0935-E4C8-E44CD46908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2">
                <a:extLst>
                  <a:ext uri="{FF2B5EF4-FFF2-40B4-BE49-F238E27FC236}">
                    <a16:creationId xmlns:a16="http://schemas.microsoft.com/office/drawing/2014/main" id="{9CF9CAF1-EF82-D9CF-9FC2-3F0284D42E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3">
                <a:extLst>
                  <a:ext uri="{FF2B5EF4-FFF2-40B4-BE49-F238E27FC236}">
                    <a16:creationId xmlns:a16="http://schemas.microsoft.com/office/drawing/2014/main" id="{197E8D28-3532-1D5E-0D74-3A8F977A24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4">
                <a:extLst>
                  <a:ext uri="{FF2B5EF4-FFF2-40B4-BE49-F238E27FC236}">
                    <a16:creationId xmlns:a16="http://schemas.microsoft.com/office/drawing/2014/main" id="{1923EAF7-01BD-82F5-FC18-59A5045F8C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8" name="Slide edges">
              <a:extLst>
                <a:ext uri="{FF2B5EF4-FFF2-40B4-BE49-F238E27FC236}">
                  <a16:creationId xmlns:a16="http://schemas.microsoft.com/office/drawing/2014/main" id="{BAF09786-5C5B-18E3-4291-A3635A087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:a16="http://schemas.microsoft.com/office/drawing/2014/main" id="{790CB7D6-A6AA-0255-1FFA-44FF5A9AD9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F83EAB18-8CD2-2EFC-68F6-65DAFC3621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6FA9A594-17D1-9075-E5D7-A2086A15EDC2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6" name="Rectangle 5">
                <a:extLst>
                  <a:ext uri="{FF2B5EF4-FFF2-40B4-BE49-F238E27FC236}">
                    <a16:creationId xmlns:a16="http://schemas.microsoft.com/office/drawing/2014/main" id="{29EAD616-8F3B-2DBC-E2B9-9355F6B656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7">
                <a:extLst>
                  <a:ext uri="{FF2B5EF4-FFF2-40B4-BE49-F238E27FC236}">
                    <a16:creationId xmlns:a16="http://schemas.microsoft.com/office/drawing/2014/main" id="{62672901-DE6B-F78B-839C-03F117BD07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9">
                <a:extLst>
                  <a:ext uri="{FF2B5EF4-FFF2-40B4-BE49-F238E27FC236}">
                    <a16:creationId xmlns:a16="http://schemas.microsoft.com/office/drawing/2014/main" id="{DA05B380-4B73-C9A9-E27C-E54640527E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1">
                <a:extLst>
                  <a:ext uri="{FF2B5EF4-FFF2-40B4-BE49-F238E27FC236}">
                    <a16:creationId xmlns:a16="http://schemas.microsoft.com/office/drawing/2014/main" id="{5A865B90-A202-6CB2-FE4A-365CE30E0A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3">
                <a:extLst>
                  <a:ext uri="{FF2B5EF4-FFF2-40B4-BE49-F238E27FC236}">
                    <a16:creationId xmlns:a16="http://schemas.microsoft.com/office/drawing/2014/main" id="{CA02634E-08CB-FAFC-0220-4039C91B37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4" name="Live area">
              <a:extLst>
                <a:ext uri="{FF2B5EF4-FFF2-40B4-BE49-F238E27FC236}">
                  <a16:creationId xmlns:a16="http://schemas.microsoft.com/office/drawing/2014/main" id="{477F1A1A-490A-A727-619F-0AE7AD091ADE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5" name="Footnote example">
              <a:extLst>
                <a:ext uri="{FF2B5EF4-FFF2-40B4-BE49-F238E27FC236}">
                  <a16:creationId xmlns:a16="http://schemas.microsoft.com/office/drawing/2014/main" id="{A299FE2D-4FCA-892D-DC0A-BAAC102BC675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13257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20F43F12-DFEC-9C5A-1556-E38585364F7D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0BC98F8A-BD47-F0C0-DAE7-8BD01B17C117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6B08E734-B4BF-0D7B-9E9E-516010FF96B3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0DC1C8E3-99D3-1037-F64E-7BBE4A549FDF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066B7DE7-1A89-31C5-B803-D03A1177BBA1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937074BD-F100-EF76-2B84-C19208A3C24E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8CBA9C88-EC53-6A0F-97BB-CCC14E406A02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DB5F8D43-4789-0F92-D949-A85934FD9786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55A21BA0-CFFA-DE22-D325-AE8FFB159ED7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896F5BAA-CAEE-4A65-18B8-18713E198B68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C9BB2C0D-0FAA-0B2C-62B8-2DFFA20431F2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6D8D481C-9694-FDE0-1509-7604D729D43A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D688E950-D59F-55BB-601A-92A8C94FB9A3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A8341491-8937-4005-1785-0807EED1EB5E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B923657F-A429-54C5-9240-EB8E3A5B4932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490483DD-192F-37D3-FE68-D020B5748490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C569A031-D391-3A5B-CE6A-EAE42E7E6AC9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2E1B4C51-F36B-A905-20B3-5A0FD3588C22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15CDC568-A027-CA10-624F-0C4C9CA6CA17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09FE476D-5FE7-2787-7393-CA7765DD223E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1188FA1A-42C9-1974-0BC0-14FFF6F6CDD9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C0D8F6EF-1115-62EB-A669-0CFFB5B3C11C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78A22EEC-CB56-C271-2ECD-023ADC7933FB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22746425-AA40-4A00-3BC7-AD39092C1577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1" name="Rectangle 34">
                <a:extLst>
                  <a:ext uri="{FF2B5EF4-FFF2-40B4-BE49-F238E27FC236}">
                    <a16:creationId xmlns:a16="http://schemas.microsoft.com/office/drawing/2014/main" id="{BE45665A-507D-823F-914E-ABEC4B8729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5">
                <a:extLst>
                  <a:ext uri="{FF2B5EF4-FFF2-40B4-BE49-F238E27FC236}">
                    <a16:creationId xmlns:a16="http://schemas.microsoft.com/office/drawing/2014/main" id="{D1BAF0D8-C37D-D2A1-EA90-27F2A0D886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6">
                <a:extLst>
                  <a:ext uri="{FF2B5EF4-FFF2-40B4-BE49-F238E27FC236}">
                    <a16:creationId xmlns:a16="http://schemas.microsoft.com/office/drawing/2014/main" id="{4D335342-785B-46D4-9FFF-EAD20785F0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7">
                <a:extLst>
                  <a:ext uri="{FF2B5EF4-FFF2-40B4-BE49-F238E27FC236}">
                    <a16:creationId xmlns:a16="http://schemas.microsoft.com/office/drawing/2014/main" id="{44B9824E-ED08-C2F2-0D63-D3202A4446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8">
                <a:extLst>
                  <a:ext uri="{FF2B5EF4-FFF2-40B4-BE49-F238E27FC236}">
                    <a16:creationId xmlns:a16="http://schemas.microsoft.com/office/drawing/2014/main" id="{F8B495B5-D790-F49F-8678-213441E401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9">
                <a:extLst>
                  <a:ext uri="{FF2B5EF4-FFF2-40B4-BE49-F238E27FC236}">
                    <a16:creationId xmlns:a16="http://schemas.microsoft.com/office/drawing/2014/main" id="{043011D9-3E62-2D0F-FC8D-576D06E281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0">
                <a:extLst>
                  <a:ext uri="{FF2B5EF4-FFF2-40B4-BE49-F238E27FC236}">
                    <a16:creationId xmlns:a16="http://schemas.microsoft.com/office/drawing/2014/main" id="{399E8CDF-6BA3-BE55-D790-09B124419F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1">
                <a:extLst>
                  <a:ext uri="{FF2B5EF4-FFF2-40B4-BE49-F238E27FC236}">
                    <a16:creationId xmlns:a16="http://schemas.microsoft.com/office/drawing/2014/main" id="{C8A25D60-A39A-3039-C815-1AA9C6E51A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2">
                <a:extLst>
                  <a:ext uri="{FF2B5EF4-FFF2-40B4-BE49-F238E27FC236}">
                    <a16:creationId xmlns:a16="http://schemas.microsoft.com/office/drawing/2014/main" id="{616BB841-8F12-DFC5-7A52-865766F0B5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3">
                <a:extLst>
                  <a:ext uri="{FF2B5EF4-FFF2-40B4-BE49-F238E27FC236}">
                    <a16:creationId xmlns:a16="http://schemas.microsoft.com/office/drawing/2014/main" id="{E20F13D6-0552-8660-2E37-0BC1790EFF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4">
                <a:extLst>
                  <a:ext uri="{FF2B5EF4-FFF2-40B4-BE49-F238E27FC236}">
                    <a16:creationId xmlns:a16="http://schemas.microsoft.com/office/drawing/2014/main" id="{1EE9170D-18FE-BEC2-825A-32F6635C40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8" name="Slide edges">
              <a:extLst>
                <a:ext uri="{FF2B5EF4-FFF2-40B4-BE49-F238E27FC236}">
                  <a16:creationId xmlns:a16="http://schemas.microsoft.com/office/drawing/2014/main" id="{832B26C0-F921-E0EB-6FED-85637E32C827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:a16="http://schemas.microsoft.com/office/drawing/2014/main" id="{DB0B3FD5-15FF-29DC-4FBE-8A70D7365F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A2E31E35-FDA6-9072-426F-91326BD91F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776F9419-AD1E-91B7-A103-1757D8D3D22D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6" name="Rectangle 5">
                <a:extLst>
                  <a:ext uri="{FF2B5EF4-FFF2-40B4-BE49-F238E27FC236}">
                    <a16:creationId xmlns:a16="http://schemas.microsoft.com/office/drawing/2014/main" id="{A443CE40-E456-C58D-B109-1EB2DD99F2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7">
                <a:extLst>
                  <a:ext uri="{FF2B5EF4-FFF2-40B4-BE49-F238E27FC236}">
                    <a16:creationId xmlns:a16="http://schemas.microsoft.com/office/drawing/2014/main" id="{B3E7C8DF-CD3E-711D-F6A9-A23AE653BA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9">
                <a:extLst>
                  <a:ext uri="{FF2B5EF4-FFF2-40B4-BE49-F238E27FC236}">
                    <a16:creationId xmlns:a16="http://schemas.microsoft.com/office/drawing/2014/main" id="{422C3256-B714-D478-B370-358C27368B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1">
                <a:extLst>
                  <a:ext uri="{FF2B5EF4-FFF2-40B4-BE49-F238E27FC236}">
                    <a16:creationId xmlns:a16="http://schemas.microsoft.com/office/drawing/2014/main" id="{E5403822-8A72-8DB2-DDCF-B4D9ED2E4A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3">
                <a:extLst>
                  <a:ext uri="{FF2B5EF4-FFF2-40B4-BE49-F238E27FC236}">
                    <a16:creationId xmlns:a16="http://schemas.microsoft.com/office/drawing/2014/main" id="{84295BB5-887C-06E8-D53C-50620CA838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4" name="Live area">
              <a:extLst>
                <a:ext uri="{FF2B5EF4-FFF2-40B4-BE49-F238E27FC236}">
                  <a16:creationId xmlns:a16="http://schemas.microsoft.com/office/drawing/2014/main" id="{E6ABBD79-8FBB-88EA-B316-19AA1BE8EACC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5" name="Footnote example">
              <a:extLst>
                <a:ext uri="{FF2B5EF4-FFF2-40B4-BE49-F238E27FC236}">
                  <a16:creationId xmlns:a16="http://schemas.microsoft.com/office/drawing/2014/main" id="{7819102E-4810-015B-16CA-DE35BD1783D0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63163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0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51B62AA-9314-2938-603C-E1F21B526A93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E7AEEE52-F621-FDD8-9FC6-5B113D1074F3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ECDA5781-BD89-4DC2-D119-7954F95DF473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87D4E1FC-BA86-92E4-BB62-753472DC51D4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94EF8D13-F458-EE94-5D0D-D34649D5BB7F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89AB69B0-382D-7895-085D-F49C100FAE17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8535C0E5-D8A4-5153-BD45-2ADCDB17297C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5A177901-8036-0189-9A54-DA74E27153E0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9BCEBDED-5D12-8AF2-13CC-0B1B9AA2D302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43EFACDA-63CD-0BC6-7328-C2FA9234B98B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DE1C0D78-F359-F117-38C1-6E990CFED344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C15A5931-5D2D-4D56-55E7-D63785D01381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B4FC2C92-37AD-E3A9-715E-DE013C7A200E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8ECCC7F7-8807-2C4F-EFBD-047BFC00DAA4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0AE054A7-06B5-6DA4-AA38-3E149DF90900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0E561F53-9FC2-F20D-5F2E-D07C3AE22A36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881E0AA3-004D-F5EF-6C57-D03C73A83187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CAF59A02-6FB3-F338-FABE-236A374A6778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66BC72EB-3CED-8F6A-0886-CF6B4D7A1538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47B02769-B418-ABD6-0A6F-31246147FC9B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66A27AAB-758F-09BC-0250-ABE58B151989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2C5D1B4F-BE75-97B4-F493-AC01F709A009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F9C2E052-ED15-A53D-E416-495F8F66B486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1CF4405F-E828-5F7D-F06E-ED2B77C210F7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2" name="Rectangle 34">
                <a:extLst>
                  <a:ext uri="{FF2B5EF4-FFF2-40B4-BE49-F238E27FC236}">
                    <a16:creationId xmlns:a16="http://schemas.microsoft.com/office/drawing/2014/main" id="{2E82207C-F8E9-7D33-765F-64BA10A343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5">
                <a:extLst>
                  <a:ext uri="{FF2B5EF4-FFF2-40B4-BE49-F238E27FC236}">
                    <a16:creationId xmlns:a16="http://schemas.microsoft.com/office/drawing/2014/main" id="{A448FF87-0209-D33D-B1E2-99AFBBB7FA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6">
                <a:extLst>
                  <a:ext uri="{FF2B5EF4-FFF2-40B4-BE49-F238E27FC236}">
                    <a16:creationId xmlns:a16="http://schemas.microsoft.com/office/drawing/2014/main" id="{A46A6125-C643-37F6-0A66-BA32A8BFDE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7">
                <a:extLst>
                  <a:ext uri="{FF2B5EF4-FFF2-40B4-BE49-F238E27FC236}">
                    <a16:creationId xmlns:a16="http://schemas.microsoft.com/office/drawing/2014/main" id="{9C4191B3-1232-EF06-99DF-D10EC2F0FDC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8">
                <a:extLst>
                  <a:ext uri="{FF2B5EF4-FFF2-40B4-BE49-F238E27FC236}">
                    <a16:creationId xmlns:a16="http://schemas.microsoft.com/office/drawing/2014/main" id="{A96683A7-52F0-C604-9F8A-D319836D28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9">
                <a:extLst>
                  <a:ext uri="{FF2B5EF4-FFF2-40B4-BE49-F238E27FC236}">
                    <a16:creationId xmlns:a16="http://schemas.microsoft.com/office/drawing/2014/main" id="{4C8F6151-2ACB-CEAC-5C63-23856C7BCB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0">
                <a:extLst>
                  <a:ext uri="{FF2B5EF4-FFF2-40B4-BE49-F238E27FC236}">
                    <a16:creationId xmlns:a16="http://schemas.microsoft.com/office/drawing/2014/main" id="{83AEDB11-3389-2CC4-0B3E-997ACF1A2F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1">
                <a:extLst>
                  <a:ext uri="{FF2B5EF4-FFF2-40B4-BE49-F238E27FC236}">
                    <a16:creationId xmlns:a16="http://schemas.microsoft.com/office/drawing/2014/main" id="{6AD652F4-1200-66CF-9691-3A528C9224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2">
                <a:extLst>
                  <a:ext uri="{FF2B5EF4-FFF2-40B4-BE49-F238E27FC236}">
                    <a16:creationId xmlns:a16="http://schemas.microsoft.com/office/drawing/2014/main" id="{9A59F679-8CDE-0A51-A63D-5CA3B1F095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3">
                <a:extLst>
                  <a:ext uri="{FF2B5EF4-FFF2-40B4-BE49-F238E27FC236}">
                    <a16:creationId xmlns:a16="http://schemas.microsoft.com/office/drawing/2014/main" id="{62041CC4-3F5D-C2EA-FF77-FD47B201DD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4">
                <a:extLst>
                  <a:ext uri="{FF2B5EF4-FFF2-40B4-BE49-F238E27FC236}">
                    <a16:creationId xmlns:a16="http://schemas.microsoft.com/office/drawing/2014/main" id="{2EF20085-FE98-14D0-AFD2-75B4A9EA13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E2BF2367-09C4-5432-D934-6CBEDF2FD64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" name="Footnote measure">
              <a:extLst>
                <a:ext uri="{FF2B5EF4-FFF2-40B4-BE49-F238E27FC236}">
                  <a16:creationId xmlns:a16="http://schemas.microsoft.com/office/drawing/2014/main" id="{73B62BB4-B7EE-4B9D-7A2B-C7E24AE2FD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Whitespace measure">
              <a:extLst>
                <a:ext uri="{FF2B5EF4-FFF2-40B4-BE49-F238E27FC236}">
                  <a16:creationId xmlns:a16="http://schemas.microsoft.com/office/drawing/2014/main" id="{C3BE22D0-7732-1A06-8306-0553F6CD54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Five column measure">
              <a:extLst>
                <a:ext uri="{FF2B5EF4-FFF2-40B4-BE49-F238E27FC236}">
                  <a16:creationId xmlns:a16="http://schemas.microsoft.com/office/drawing/2014/main" id="{0B9CD41E-788C-73F1-1B03-FB1653B26CEE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6" name="Rectangle 5">
                <a:extLst>
                  <a:ext uri="{FF2B5EF4-FFF2-40B4-BE49-F238E27FC236}">
                    <a16:creationId xmlns:a16="http://schemas.microsoft.com/office/drawing/2014/main" id="{2D30444B-0343-83BA-C0F5-D036D85CEF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7">
                <a:extLst>
                  <a:ext uri="{FF2B5EF4-FFF2-40B4-BE49-F238E27FC236}">
                    <a16:creationId xmlns:a16="http://schemas.microsoft.com/office/drawing/2014/main" id="{7408FBF4-5BD4-567F-1DF1-0A8D022365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9">
                <a:extLst>
                  <a:ext uri="{FF2B5EF4-FFF2-40B4-BE49-F238E27FC236}">
                    <a16:creationId xmlns:a16="http://schemas.microsoft.com/office/drawing/2014/main" id="{B8C29D4A-117C-3DDC-15A5-61B4D4B298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1">
                <a:extLst>
                  <a:ext uri="{FF2B5EF4-FFF2-40B4-BE49-F238E27FC236}">
                    <a16:creationId xmlns:a16="http://schemas.microsoft.com/office/drawing/2014/main" id="{2101B139-A863-29D8-0B02-F799B0F899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3">
                <a:extLst>
                  <a:ext uri="{FF2B5EF4-FFF2-40B4-BE49-F238E27FC236}">
                    <a16:creationId xmlns:a16="http://schemas.microsoft.com/office/drawing/2014/main" id="{1C936AD4-0A22-58B5-43D6-88CB4DCA9A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" name="Live area">
              <a:extLst>
                <a:ext uri="{FF2B5EF4-FFF2-40B4-BE49-F238E27FC236}">
                  <a16:creationId xmlns:a16="http://schemas.microsoft.com/office/drawing/2014/main" id="{BD023C59-FD1E-358B-9CE7-2295EF15CBEA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7F3B2AFD-74D2-1775-14E0-0CC4BA5404F2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27614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/>
              <a:t>Agenda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4CE201E-1B03-E79E-251D-C6BCD483D50C}"/>
              </a:ext>
            </a:extLst>
          </p:cNvPr>
          <p:cNvGrpSpPr/>
          <p:nvPr userDrawn="1">
            <p:custDataLst>
              <p:tags r:id="rId4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11D855E8-D3F8-573F-1AA7-AD074A66756C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08C36E2C-B968-93FC-4003-7DA8D561B061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B3B56E32-B1B6-E788-131C-F2DEF1C23EDA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3B8BC5A5-9916-DAEF-98BC-21C9939B4A0B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C9BFC3D1-98F8-BF8F-940F-4D0A20DB641A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74F96D85-A8F8-F644-CB28-44DA6D5DB42B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2208A546-469C-129A-A759-ACD9BC0E8A9F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0FE5F708-9B00-BEF0-1885-DAF5AB6CCC34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FFDD95F0-B3D3-42EC-C858-CF5029DF8562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0C681960-B026-DFD4-6B25-4CEAD81CD5D5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C4DCD626-D4F1-B269-220E-4D117D6F64A0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9F9F52E8-D89D-4634-9B29-30BC85748954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7BD48F30-E234-F428-C5F7-E2DA1D671FC9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EEDD8320-DCE5-CB8F-452C-154C673665FB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1EDF933F-8A7B-E031-DB98-17E21D72E5ED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B1511899-9C17-5BBE-B9AE-9CB53AC85035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F574D6BA-C06C-74CC-D55A-793BD9177539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39164DFA-EC70-9A2D-66FF-7B11B8EA5269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D87DF785-16F0-C5A6-5987-2E19F14A1431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AF77FC73-2DD1-D152-42C9-6473FDD18871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01A68B15-739B-2D03-E591-8EAAB17ABBBF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4DAF6F7D-3061-2F93-DBCA-2137D81BA238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95F190C4-D388-1053-986A-0E887C5584EA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2" name="Rectangle 34">
                <a:extLst>
                  <a:ext uri="{FF2B5EF4-FFF2-40B4-BE49-F238E27FC236}">
                    <a16:creationId xmlns:a16="http://schemas.microsoft.com/office/drawing/2014/main" id="{721807E4-56AC-FE5C-DF07-518427F2BD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5">
                <a:extLst>
                  <a:ext uri="{FF2B5EF4-FFF2-40B4-BE49-F238E27FC236}">
                    <a16:creationId xmlns:a16="http://schemas.microsoft.com/office/drawing/2014/main" id="{FABC1DE1-E224-915D-1893-025B9FC323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6">
                <a:extLst>
                  <a:ext uri="{FF2B5EF4-FFF2-40B4-BE49-F238E27FC236}">
                    <a16:creationId xmlns:a16="http://schemas.microsoft.com/office/drawing/2014/main" id="{0BDC2D52-2D37-B863-FB72-AED9D30D59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7">
                <a:extLst>
                  <a:ext uri="{FF2B5EF4-FFF2-40B4-BE49-F238E27FC236}">
                    <a16:creationId xmlns:a16="http://schemas.microsoft.com/office/drawing/2014/main" id="{139B8ED6-2622-2A1E-5494-79D0D78D84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8">
                <a:extLst>
                  <a:ext uri="{FF2B5EF4-FFF2-40B4-BE49-F238E27FC236}">
                    <a16:creationId xmlns:a16="http://schemas.microsoft.com/office/drawing/2014/main" id="{4B471F2A-22D9-64E4-A763-1DC70772A1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9">
                <a:extLst>
                  <a:ext uri="{FF2B5EF4-FFF2-40B4-BE49-F238E27FC236}">
                    <a16:creationId xmlns:a16="http://schemas.microsoft.com/office/drawing/2014/main" id="{8886680D-73F7-8BC0-7E3B-D7BAA10E0B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0">
                <a:extLst>
                  <a:ext uri="{FF2B5EF4-FFF2-40B4-BE49-F238E27FC236}">
                    <a16:creationId xmlns:a16="http://schemas.microsoft.com/office/drawing/2014/main" id="{4FF717B9-7763-1D4A-BCCC-7F41D7A541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1">
                <a:extLst>
                  <a:ext uri="{FF2B5EF4-FFF2-40B4-BE49-F238E27FC236}">
                    <a16:creationId xmlns:a16="http://schemas.microsoft.com/office/drawing/2014/main" id="{4F45B709-8CC6-1B99-65E2-9096B7E1E7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2">
                <a:extLst>
                  <a:ext uri="{FF2B5EF4-FFF2-40B4-BE49-F238E27FC236}">
                    <a16:creationId xmlns:a16="http://schemas.microsoft.com/office/drawing/2014/main" id="{CA9A3295-E6B4-68DC-9A4D-A77E906E57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3">
                <a:extLst>
                  <a:ext uri="{FF2B5EF4-FFF2-40B4-BE49-F238E27FC236}">
                    <a16:creationId xmlns:a16="http://schemas.microsoft.com/office/drawing/2014/main" id="{F59B7FAA-4EBB-1890-CE81-1F8E53C6C1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4">
                <a:extLst>
                  <a:ext uri="{FF2B5EF4-FFF2-40B4-BE49-F238E27FC236}">
                    <a16:creationId xmlns:a16="http://schemas.microsoft.com/office/drawing/2014/main" id="{B67858BB-9CEF-0CAE-840B-9C98C3E444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88FC1451-BBE5-1CCE-30B7-E051EA2A5F4A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2" name="Footnote measure">
              <a:extLst>
                <a:ext uri="{FF2B5EF4-FFF2-40B4-BE49-F238E27FC236}">
                  <a16:creationId xmlns:a16="http://schemas.microsoft.com/office/drawing/2014/main" id="{B3C9BD7A-95E7-731B-E300-F9159AF43C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Whitespace measure">
              <a:extLst>
                <a:ext uri="{FF2B5EF4-FFF2-40B4-BE49-F238E27FC236}">
                  <a16:creationId xmlns:a16="http://schemas.microsoft.com/office/drawing/2014/main" id="{DB629052-8294-D48C-C930-A98C490E11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4" name="Five column measure">
              <a:extLst>
                <a:ext uri="{FF2B5EF4-FFF2-40B4-BE49-F238E27FC236}">
                  <a16:creationId xmlns:a16="http://schemas.microsoft.com/office/drawing/2014/main" id="{7DCEFE76-D30C-23D2-E447-237C09D1AD91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7" name="Rectangle 5">
                <a:extLst>
                  <a:ext uri="{FF2B5EF4-FFF2-40B4-BE49-F238E27FC236}">
                    <a16:creationId xmlns:a16="http://schemas.microsoft.com/office/drawing/2014/main" id="{90A32A2A-7A58-5FCE-699E-57D8B65D09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7">
                <a:extLst>
                  <a:ext uri="{FF2B5EF4-FFF2-40B4-BE49-F238E27FC236}">
                    <a16:creationId xmlns:a16="http://schemas.microsoft.com/office/drawing/2014/main" id="{69F451B8-EDC9-C41F-34D1-D5CC86AC70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9">
                <a:extLst>
                  <a:ext uri="{FF2B5EF4-FFF2-40B4-BE49-F238E27FC236}">
                    <a16:creationId xmlns:a16="http://schemas.microsoft.com/office/drawing/2014/main" id="{721FFB4F-B4C7-55D6-3887-E976970CBA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1">
                <a:extLst>
                  <a:ext uri="{FF2B5EF4-FFF2-40B4-BE49-F238E27FC236}">
                    <a16:creationId xmlns:a16="http://schemas.microsoft.com/office/drawing/2014/main" id="{18258DFA-D23F-0394-E449-02A2B91873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3">
                <a:extLst>
                  <a:ext uri="{FF2B5EF4-FFF2-40B4-BE49-F238E27FC236}">
                    <a16:creationId xmlns:a16="http://schemas.microsoft.com/office/drawing/2014/main" id="{CB29FC76-8934-9445-2BAA-025A0EDDBD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5" name="Live area">
              <a:extLst>
                <a:ext uri="{FF2B5EF4-FFF2-40B4-BE49-F238E27FC236}">
                  <a16:creationId xmlns:a16="http://schemas.microsoft.com/office/drawing/2014/main" id="{06DD3C70-2A7F-5BD3-4D66-5938873B204F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6" name="Footnote example">
              <a:extLst>
                <a:ext uri="{FF2B5EF4-FFF2-40B4-BE49-F238E27FC236}">
                  <a16:creationId xmlns:a16="http://schemas.microsoft.com/office/drawing/2014/main" id="{4F3CD452-C44C-329F-F12E-46736B49F527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95142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14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34DBBA7-C39F-13D0-38E4-D97695F0CD67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C213AC83-ED0C-4EAA-DD0F-EBF7BB80F3AF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08987BC2-13EA-A1CF-D8A5-D72AFB27ACCB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73FB19B0-D28A-31E2-6651-F2C8C9D43CB5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0BA59DAA-388B-92F6-AC86-574C795C3387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EF2886ED-2C54-B236-28D5-8C4BB912FFF8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0BD830D0-08C9-CAAB-8C78-DA5A2BFCAF60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02FB845E-C39A-10DC-A3EA-E08323DDAE04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D80DF62C-DBF5-E097-1589-32D9CE567259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4D837FF9-B675-01C2-8D7C-48363CCCBFA8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E3FEEEB4-3F6D-781C-508A-9E5E9224728C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86F2975E-418F-C34F-8CB9-9C4F58C3E687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1DE9F760-E151-75C3-2ED9-A2DAD78773B6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B1707CC3-97BE-8579-939C-33363BFF86DB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BA79188A-DA61-6F27-C8FE-6FD824D61124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2B1C45A1-2B01-36F5-D0FD-5836476473ED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5FDAAEA6-BEE1-C418-B048-790A44138A3E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DD8971FA-94AD-E17A-E557-964A75E2BA08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6690B0AD-3C12-E76D-8EE8-A0F0603BD19A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6D0EB38C-6B6F-AEFC-D759-451B6449A029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3EF9770C-5CE3-0CD0-1E29-18638745F13E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CD94C3F8-B26A-689A-5531-D0172CCCB016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D60E9CC1-2B91-35CD-1076-1D3B7BAA9137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F8D53871-D733-EFD2-4449-073093C2998A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0" name="Rectangle 34">
                <a:extLst>
                  <a:ext uri="{FF2B5EF4-FFF2-40B4-BE49-F238E27FC236}">
                    <a16:creationId xmlns:a16="http://schemas.microsoft.com/office/drawing/2014/main" id="{3D0F5FC5-2BCB-9F6F-5622-2324D75498C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35">
                <a:extLst>
                  <a:ext uri="{FF2B5EF4-FFF2-40B4-BE49-F238E27FC236}">
                    <a16:creationId xmlns:a16="http://schemas.microsoft.com/office/drawing/2014/main" id="{BEAD9424-95C3-1D57-EC9E-DB1423B49D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6">
                <a:extLst>
                  <a:ext uri="{FF2B5EF4-FFF2-40B4-BE49-F238E27FC236}">
                    <a16:creationId xmlns:a16="http://schemas.microsoft.com/office/drawing/2014/main" id="{50B9E76B-725D-79D5-9D47-3638E68264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7">
                <a:extLst>
                  <a:ext uri="{FF2B5EF4-FFF2-40B4-BE49-F238E27FC236}">
                    <a16:creationId xmlns:a16="http://schemas.microsoft.com/office/drawing/2014/main" id="{43307123-B6FB-52F6-D7C4-EB8541EB8D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8">
                <a:extLst>
                  <a:ext uri="{FF2B5EF4-FFF2-40B4-BE49-F238E27FC236}">
                    <a16:creationId xmlns:a16="http://schemas.microsoft.com/office/drawing/2014/main" id="{42D80C91-3E8D-4163-C2C5-9BA610FF93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9">
                <a:extLst>
                  <a:ext uri="{FF2B5EF4-FFF2-40B4-BE49-F238E27FC236}">
                    <a16:creationId xmlns:a16="http://schemas.microsoft.com/office/drawing/2014/main" id="{D202063C-5122-449A-4576-C11F39EF66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40">
                <a:extLst>
                  <a:ext uri="{FF2B5EF4-FFF2-40B4-BE49-F238E27FC236}">
                    <a16:creationId xmlns:a16="http://schemas.microsoft.com/office/drawing/2014/main" id="{488C9000-0867-715D-7B15-A1BA797681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1">
                <a:extLst>
                  <a:ext uri="{FF2B5EF4-FFF2-40B4-BE49-F238E27FC236}">
                    <a16:creationId xmlns:a16="http://schemas.microsoft.com/office/drawing/2014/main" id="{8CF6F082-D247-B72E-5DBD-51F2A2B8B6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2">
                <a:extLst>
                  <a:ext uri="{FF2B5EF4-FFF2-40B4-BE49-F238E27FC236}">
                    <a16:creationId xmlns:a16="http://schemas.microsoft.com/office/drawing/2014/main" id="{FAA263F4-50ED-3CFF-6193-8F7A4F13F2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3">
                <a:extLst>
                  <a:ext uri="{FF2B5EF4-FFF2-40B4-BE49-F238E27FC236}">
                    <a16:creationId xmlns:a16="http://schemas.microsoft.com/office/drawing/2014/main" id="{69476348-423C-1077-E131-E496EB0E17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4">
                <a:extLst>
                  <a:ext uri="{FF2B5EF4-FFF2-40B4-BE49-F238E27FC236}">
                    <a16:creationId xmlns:a16="http://schemas.microsoft.com/office/drawing/2014/main" id="{DC03A0AC-CCE5-CCCA-A2BE-DC7D4AD12D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BAF42A02-01C5-E5F0-D0D8-E63E93A8C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:a16="http://schemas.microsoft.com/office/drawing/2014/main" id="{A017759C-547F-968B-ED37-703D9CD9EE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7216C1C5-6C4C-4A23-9B4B-60F28D3BD5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5057CC00-534D-F953-9A73-F3E17CABEF84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" name="Rectangle 5">
                <a:extLst>
                  <a:ext uri="{FF2B5EF4-FFF2-40B4-BE49-F238E27FC236}">
                    <a16:creationId xmlns:a16="http://schemas.microsoft.com/office/drawing/2014/main" id="{9DAB0908-B938-49B3-87E1-EFC2358EB0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7">
                <a:extLst>
                  <a:ext uri="{FF2B5EF4-FFF2-40B4-BE49-F238E27FC236}">
                    <a16:creationId xmlns:a16="http://schemas.microsoft.com/office/drawing/2014/main" id="{5423C01B-FC67-E153-F556-9CD181B9AC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9">
                <a:extLst>
                  <a:ext uri="{FF2B5EF4-FFF2-40B4-BE49-F238E27FC236}">
                    <a16:creationId xmlns:a16="http://schemas.microsoft.com/office/drawing/2014/main" id="{2B53B36F-F806-795C-1DDE-74CC2C7610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11">
                <a:extLst>
                  <a:ext uri="{FF2B5EF4-FFF2-40B4-BE49-F238E27FC236}">
                    <a16:creationId xmlns:a16="http://schemas.microsoft.com/office/drawing/2014/main" id="{68401290-DA41-304C-EC35-AA73926403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3">
                <a:extLst>
                  <a:ext uri="{FF2B5EF4-FFF2-40B4-BE49-F238E27FC236}">
                    <a16:creationId xmlns:a16="http://schemas.microsoft.com/office/drawing/2014/main" id="{FC829669-891F-4035-88CB-B25196B93A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3" name="Live area">
              <a:extLst>
                <a:ext uri="{FF2B5EF4-FFF2-40B4-BE49-F238E27FC236}">
                  <a16:creationId xmlns:a16="http://schemas.microsoft.com/office/drawing/2014/main" id="{9093AF91-0C83-366F-450C-2FD71BD26749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169DE21D-7D93-2C30-0CD2-CB6E29D63255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02028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1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0440978A-C341-E3DF-B40B-E3905BB64803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A49E6020-F6DD-2295-4D7C-365575F18973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D8899ED3-6413-18AC-DB98-4240B095E1A6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566E7601-8C4D-4968-73A8-5F80BBDE99EB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917860D2-957C-3555-15B2-74ED6BE0FF47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67CE3D1E-39F3-B77E-7A66-93192A1950DF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1396B689-0CA2-CF48-FA01-38FA3BFC6CDA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44F0279B-54CF-067A-BAC3-87CD974F10C3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E83EE112-8CDE-CC12-D97B-13E63109D8E6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3889ECE5-58C8-015F-8A66-115CE8AC3534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CB359765-4411-451F-2691-E0036AFD4E23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1C1A8DCB-EF74-5F31-1702-F7077ABEC1B6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5FB19E68-F3BA-271B-2DCA-FB391CA5BC22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115B405C-67D8-682F-0D0C-A7E8F600C608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BC3F8E22-F17A-6F7E-BFF3-DA3F9925CD5C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14610682-0D38-6530-BD8D-5F448B34A129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C3981D95-29F9-B098-9E6D-1DDDC872544A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7F0B5A2F-3A9B-9C40-0252-D0EA79291040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00905A51-7251-1EFD-6BCF-2CB62FC875F1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7CCAAA8B-58EA-E019-44C4-3A1D438E950C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7166346A-081B-038D-8A81-959BCFBF00CC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31574296-DEAD-4A12-F077-4CC96ED4DACD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127C311F-5E53-11BF-729D-261830D21CB3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92D32C00-FC30-54AB-69E8-752C19C33E6D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0" name="Rectangle 34">
                <a:extLst>
                  <a:ext uri="{FF2B5EF4-FFF2-40B4-BE49-F238E27FC236}">
                    <a16:creationId xmlns:a16="http://schemas.microsoft.com/office/drawing/2014/main" id="{87648C9D-91D8-851C-9828-1DB261D87C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35">
                <a:extLst>
                  <a:ext uri="{FF2B5EF4-FFF2-40B4-BE49-F238E27FC236}">
                    <a16:creationId xmlns:a16="http://schemas.microsoft.com/office/drawing/2014/main" id="{6F15E118-7E59-7A7C-1D01-58EB19C75A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6">
                <a:extLst>
                  <a:ext uri="{FF2B5EF4-FFF2-40B4-BE49-F238E27FC236}">
                    <a16:creationId xmlns:a16="http://schemas.microsoft.com/office/drawing/2014/main" id="{AC9FB48F-BD9F-A2DB-766D-AB3BB9C0E6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7">
                <a:extLst>
                  <a:ext uri="{FF2B5EF4-FFF2-40B4-BE49-F238E27FC236}">
                    <a16:creationId xmlns:a16="http://schemas.microsoft.com/office/drawing/2014/main" id="{19BFD60B-90EF-0FC8-EF95-837AD3DEBD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8">
                <a:extLst>
                  <a:ext uri="{FF2B5EF4-FFF2-40B4-BE49-F238E27FC236}">
                    <a16:creationId xmlns:a16="http://schemas.microsoft.com/office/drawing/2014/main" id="{DE23F4BA-D1B8-D413-2FED-920D4063B2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9">
                <a:extLst>
                  <a:ext uri="{FF2B5EF4-FFF2-40B4-BE49-F238E27FC236}">
                    <a16:creationId xmlns:a16="http://schemas.microsoft.com/office/drawing/2014/main" id="{B846651D-E9AD-30AF-D209-34A7FC03AD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40">
                <a:extLst>
                  <a:ext uri="{FF2B5EF4-FFF2-40B4-BE49-F238E27FC236}">
                    <a16:creationId xmlns:a16="http://schemas.microsoft.com/office/drawing/2014/main" id="{AD26538D-464C-AA3A-E3C7-D2E40FC493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1">
                <a:extLst>
                  <a:ext uri="{FF2B5EF4-FFF2-40B4-BE49-F238E27FC236}">
                    <a16:creationId xmlns:a16="http://schemas.microsoft.com/office/drawing/2014/main" id="{4CFAEAD6-AA40-4AA4-42E5-953C8C5C5F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2">
                <a:extLst>
                  <a:ext uri="{FF2B5EF4-FFF2-40B4-BE49-F238E27FC236}">
                    <a16:creationId xmlns:a16="http://schemas.microsoft.com/office/drawing/2014/main" id="{2C769423-5781-B951-5E63-0903334557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3">
                <a:extLst>
                  <a:ext uri="{FF2B5EF4-FFF2-40B4-BE49-F238E27FC236}">
                    <a16:creationId xmlns:a16="http://schemas.microsoft.com/office/drawing/2014/main" id="{7D181B57-53FB-415D-F008-C15980FF0C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4">
                <a:extLst>
                  <a:ext uri="{FF2B5EF4-FFF2-40B4-BE49-F238E27FC236}">
                    <a16:creationId xmlns:a16="http://schemas.microsoft.com/office/drawing/2014/main" id="{D77F19DF-982D-669C-780D-2581C65663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8" name="Slide edges">
              <a:extLst>
                <a:ext uri="{FF2B5EF4-FFF2-40B4-BE49-F238E27FC236}">
                  <a16:creationId xmlns:a16="http://schemas.microsoft.com/office/drawing/2014/main" id="{30791FCC-BB87-B382-7B77-6CB367F64C96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0" name="Footnote measure">
              <a:extLst>
                <a:ext uri="{FF2B5EF4-FFF2-40B4-BE49-F238E27FC236}">
                  <a16:creationId xmlns:a16="http://schemas.microsoft.com/office/drawing/2014/main" id="{8F830B29-57FA-DA46-D8E1-11460A3B36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FB845089-2611-3A7C-BF3C-1DA56C8FEB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DE9DD8AD-715C-6E86-046E-3EA189B9256D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" name="Rectangle 5">
                <a:extLst>
                  <a:ext uri="{FF2B5EF4-FFF2-40B4-BE49-F238E27FC236}">
                    <a16:creationId xmlns:a16="http://schemas.microsoft.com/office/drawing/2014/main" id="{C8EAAAEB-BD83-C8A2-07D0-693BBDB457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7">
                <a:extLst>
                  <a:ext uri="{FF2B5EF4-FFF2-40B4-BE49-F238E27FC236}">
                    <a16:creationId xmlns:a16="http://schemas.microsoft.com/office/drawing/2014/main" id="{413977B0-AB0E-B716-0407-B4D5A4E816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9">
                <a:extLst>
                  <a:ext uri="{FF2B5EF4-FFF2-40B4-BE49-F238E27FC236}">
                    <a16:creationId xmlns:a16="http://schemas.microsoft.com/office/drawing/2014/main" id="{D42BB19C-C8AA-7553-1A40-2A12A8EC30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11">
                <a:extLst>
                  <a:ext uri="{FF2B5EF4-FFF2-40B4-BE49-F238E27FC236}">
                    <a16:creationId xmlns:a16="http://schemas.microsoft.com/office/drawing/2014/main" id="{5FCF23CA-CDAA-899B-ED15-E7D98373C6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3">
                <a:extLst>
                  <a:ext uri="{FF2B5EF4-FFF2-40B4-BE49-F238E27FC236}">
                    <a16:creationId xmlns:a16="http://schemas.microsoft.com/office/drawing/2014/main" id="{592E9777-6E87-21D5-6224-6F7C9A33FC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3" name="Live area">
              <a:extLst>
                <a:ext uri="{FF2B5EF4-FFF2-40B4-BE49-F238E27FC236}">
                  <a16:creationId xmlns:a16="http://schemas.microsoft.com/office/drawing/2014/main" id="{D9A9DFB7-6E58-37B1-DBDC-7C74E1512A6A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16F472CF-7726-428D-AB36-33AE9B16FB52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06204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1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1395C89-6237-4DE8-BEE9-AA5A3E72AB8D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6D2A1AB2-E2E3-8A97-F5AE-425461E59D95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874D5EB9-620B-FD48-02A6-C6AF46F211FB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ED92280F-FEC8-4EEB-42CE-A6351398AF55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8EBACF5B-76BC-8C9D-E3D0-AB718CC8A1BC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CE064814-AB6D-C34D-F1E9-08441828AAFA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2D23DDEE-D846-75CB-70F6-06FAA1372145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2AEFDF22-931B-C4D2-579D-DED2DF11A5FD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0A9E10D7-E5B0-6EE9-2063-FF9167DE2766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13D69B0A-A2AE-EC29-F52C-4DEF5D7D117F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CD9FC70A-E60F-59F3-E021-5203DEEE1CB5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E971CDE9-0A8F-F8CB-A686-D562D084DC02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C913EBBC-9BD9-CDA6-DC36-9B5120F309E7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CAD976B1-1746-8639-55FA-3B2E12445E5C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AC209212-65FD-470F-9DC0-F286D3486E49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1994520F-1117-D3C3-B560-F8AB7570399C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8EDEFD7D-D85D-981C-8FE5-53C9E6C6F070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D631832C-C242-8CCA-251A-1100B033577D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E0FD1C67-796F-F0FB-A471-76177E0888F1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078DCA90-7E0E-8302-81D8-082924B5F574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A14948F9-725D-D468-5249-BF6269024C33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0AE61D5D-EDD8-E60B-2C1C-8B46202508B6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319184FB-5399-FDE9-2D3F-9C5A57C904B2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6F9C04FC-D726-52C1-B2A0-0D12DE2244DC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9" name="Rectangle 34">
                <a:extLst>
                  <a:ext uri="{FF2B5EF4-FFF2-40B4-BE49-F238E27FC236}">
                    <a16:creationId xmlns:a16="http://schemas.microsoft.com/office/drawing/2014/main" id="{C9CBBA40-5289-4F6B-8BAD-EB4A94FEC2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35">
                <a:extLst>
                  <a:ext uri="{FF2B5EF4-FFF2-40B4-BE49-F238E27FC236}">
                    <a16:creationId xmlns:a16="http://schemas.microsoft.com/office/drawing/2014/main" id="{D1DDC0C1-8298-5C85-C0C6-6949F80A49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36">
                <a:extLst>
                  <a:ext uri="{FF2B5EF4-FFF2-40B4-BE49-F238E27FC236}">
                    <a16:creationId xmlns:a16="http://schemas.microsoft.com/office/drawing/2014/main" id="{56EA2B2B-74FB-84FC-041B-F2275170BB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7">
                <a:extLst>
                  <a:ext uri="{FF2B5EF4-FFF2-40B4-BE49-F238E27FC236}">
                    <a16:creationId xmlns:a16="http://schemas.microsoft.com/office/drawing/2014/main" id="{A54E414F-2C26-7052-854D-B0428112F7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8">
                <a:extLst>
                  <a:ext uri="{FF2B5EF4-FFF2-40B4-BE49-F238E27FC236}">
                    <a16:creationId xmlns:a16="http://schemas.microsoft.com/office/drawing/2014/main" id="{0408AB57-5A5E-1A5E-FB63-FC8927C78C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9">
                <a:extLst>
                  <a:ext uri="{FF2B5EF4-FFF2-40B4-BE49-F238E27FC236}">
                    <a16:creationId xmlns:a16="http://schemas.microsoft.com/office/drawing/2014/main" id="{1F276FFF-0CE6-B363-E9EE-BAE20721C7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0">
                <a:extLst>
                  <a:ext uri="{FF2B5EF4-FFF2-40B4-BE49-F238E27FC236}">
                    <a16:creationId xmlns:a16="http://schemas.microsoft.com/office/drawing/2014/main" id="{D8E329DB-C5DF-C60E-2120-3AF66EBFF6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1">
                <a:extLst>
                  <a:ext uri="{FF2B5EF4-FFF2-40B4-BE49-F238E27FC236}">
                    <a16:creationId xmlns:a16="http://schemas.microsoft.com/office/drawing/2014/main" id="{77B1C3C9-7483-F597-A413-8B965FCFA6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2">
                <a:extLst>
                  <a:ext uri="{FF2B5EF4-FFF2-40B4-BE49-F238E27FC236}">
                    <a16:creationId xmlns:a16="http://schemas.microsoft.com/office/drawing/2014/main" id="{48C9E2CF-14B5-A492-A322-CA1F594554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3">
                <a:extLst>
                  <a:ext uri="{FF2B5EF4-FFF2-40B4-BE49-F238E27FC236}">
                    <a16:creationId xmlns:a16="http://schemas.microsoft.com/office/drawing/2014/main" id="{34C05259-EEF3-FDE9-B126-91F04CA4DC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4">
                <a:extLst>
                  <a:ext uri="{FF2B5EF4-FFF2-40B4-BE49-F238E27FC236}">
                    <a16:creationId xmlns:a16="http://schemas.microsoft.com/office/drawing/2014/main" id="{76DE048C-4E84-68CE-195F-4985FF1F79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DAB1E63F-86C0-1680-91DE-3682B5000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" name="Footnote measure">
              <a:extLst>
                <a:ext uri="{FF2B5EF4-FFF2-40B4-BE49-F238E27FC236}">
                  <a16:creationId xmlns:a16="http://schemas.microsoft.com/office/drawing/2014/main" id="{74FE835F-683F-2496-5CF0-CEB4192435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Whitespace measure">
              <a:extLst>
                <a:ext uri="{FF2B5EF4-FFF2-40B4-BE49-F238E27FC236}">
                  <a16:creationId xmlns:a16="http://schemas.microsoft.com/office/drawing/2014/main" id="{962AC48C-1DBC-67D6-D4E6-7565DFC7C4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Five column measure">
              <a:extLst>
                <a:ext uri="{FF2B5EF4-FFF2-40B4-BE49-F238E27FC236}">
                  <a16:creationId xmlns:a16="http://schemas.microsoft.com/office/drawing/2014/main" id="{6C6A9D0F-EA59-1004-B1D9-851A09D35563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4" name="Rectangle 5">
                <a:extLst>
                  <a:ext uri="{FF2B5EF4-FFF2-40B4-BE49-F238E27FC236}">
                    <a16:creationId xmlns:a16="http://schemas.microsoft.com/office/drawing/2014/main" id="{95F5ABCA-1DF3-F204-C5B8-8960349FB2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Rectangle 7">
                <a:extLst>
                  <a:ext uri="{FF2B5EF4-FFF2-40B4-BE49-F238E27FC236}">
                    <a16:creationId xmlns:a16="http://schemas.microsoft.com/office/drawing/2014/main" id="{2A0032D0-146D-D967-CE65-D42A049B0C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9">
                <a:extLst>
                  <a:ext uri="{FF2B5EF4-FFF2-40B4-BE49-F238E27FC236}">
                    <a16:creationId xmlns:a16="http://schemas.microsoft.com/office/drawing/2014/main" id="{3F284A20-CA5B-037D-B81E-6EC58423DF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11">
                <a:extLst>
                  <a:ext uri="{FF2B5EF4-FFF2-40B4-BE49-F238E27FC236}">
                    <a16:creationId xmlns:a16="http://schemas.microsoft.com/office/drawing/2014/main" id="{EB9C3DF1-2863-E70B-8DE1-AE41221C86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13">
                <a:extLst>
                  <a:ext uri="{FF2B5EF4-FFF2-40B4-BE49-F238E27FC236}">
                    <a16:creationId xmlns:a16="http://schemas.microsoft.com/office/drawing/2014/main" id="{A864370D-ADCD-4453-CED1-A08D119CDE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" name="Live area">
              <a:extLst>
                <a:ext uri="{FF2B5EF4-FFF2-40B4-BE49-F238E27FC236}">
                  <a16:creationId xmlns:a16="http://schemas.microsoft.com/office/drawing/2014/main" id="{A944CABD-641D-6FF0-ABB4-19E48EA61D9F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3" name="Footnote example">
              <a:extLst>
                <a:ext uri="{FF2B5EF4-FFF2-40B4-BE49-F238E27FC236}">
                  <a16:creationId xmlns:a16="http://schemas.microsoft.com/office/drawing/2014/main" id="{B9018BE6-B8A0-C581-0856-13D4D4426A2B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25920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2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23076E56-E3BF-9293-DD49-7A85BA3BF1DE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6124A4E9-DCC7-4F77-1318-B23E4AA773C1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FE01AC29-ADE7-EEDE-EB99-D86BFA885DDE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31075980-4F6A-7003-016D-7ABD0AA268C5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5ABB4836-22E3-304F-5C24-92F98D1BCC4E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D39B6D01-74CD-1661-C511-CC7FD88123E3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35882984-AF31-EC51-52AB-D6DB11C354C4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D572DD13-E3A4-3CDF-D821-AF4ED1028D56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5A8263A9-350C-DAC6-4D24-5A0FAC3C1D9F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A04A5D03-FFD3-4F91-52B6-56D2116AD10D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B09A9504-780C-010C-34D4-124B0817320E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F0D629A0-C447-8001-9663-B33A15564306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EB98B1D4-F5B9-FE05-D17A-B7CA82C704E0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74E1D951-FC14-C38F-1BA3-82A2D4395926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55D51629-2080-AFEE-A202-A30D9ACD031F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EB708564-CFA2-95F9-B247-D004D9F8A86E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A151383B-BFF8-2956-8058-331F1AA9A533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E3386BBD-E26E-2488-B3A8-0BB4698DC1C9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4FD7B959-4B8C-5E6F-CDCE-4EA693FE8481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F5D089B9-3728-5F0F-5E1C-B510853106BD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0D4A0227-D7C6-0021-0D52-5ACC86B77DEC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AA6A194D-D388-880F-34B2-239F96ACEFDB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303505BC-D778-B173-B030-4CD234612F77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14C69EC7-891D-6B9C-BA8D-ADBD7535A531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3" name="Rectangle 34">
                <a:extLst>
                  <a:ext uri="{FF2B5EF4-FFF2-40B4-BE49-F238E27FC236}">
                    <a16:creationId xmlns:a16="http://schemas.microsoft.com/office/drawing/2014/main" id="{1B890424-1D44-EDF6-629F-E5561F6FC4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5">
                <a:extLst>
                  <a:ext uri="{FF2B5EF4-FFF2-40B4-BE49-F238E27FC236}">
                    <a16:creationId xmlns:a16="http://schemas.microsoft.com/office/drawing/2014/main" id="{2F0114CB-E075-2DDC-2A25-CAD6EFFCF0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6">
                <a:extLst>
                  <a:ext uri="{FF2B5EF4-FFF2-40B4-BE49-F238E27FC236}">
                    <a16:creationId xmlns:a16="http://schemas.microsoft.com/office/drawing/2014/main" id="{FB896C94-0626-16FA-ABBB-237C5BD644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7">
                <a:extLst>
                  <a:ext uri="{FF2B5EF4-FFF2-40B4-BE49-F238E27FC236}">
                    <a16:creationId xmlns:a16="http://schemas.microsoft.com/office/drawing/2014/main" id="{E228F7A5-7051-E948-D60A-3CF2A79AB6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8">
                <a:extLst>
                  <a:ext uri="{FF2B5EF4-FFF2-40B4-BE49-F238E27FC236}">
                    <a16:creationId xmlns:a16="http://schemas.microsoft.com/office/drawing/2014/main" id="{A1C291EA-116F-DBD8-6E5E-40AD3CBC9A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39">
                <a:extLst>
                  <a:ext uri="{FF2B5EF4-FFF2-40B4-BE49-F238E27FC236}">
                    <a16:creationId xmlns:a16="http://schemas.microsoft.com/office/drawing/2014/main" id="{1E216AE3-9D4E-EC7D-28DD-94E128BEF0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0">
                <a:extLst>
                  <a:ext uri="{FF2B5EF4-FFF2-40B4-BE49-F238E27FC236}">
                    <a16:creationId xmlns:a16="http://schemas.microsoft.com/office/drawing/2014/main" id="{3A27324F-9178-872A-7AAF-375623ACD6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1">
                <a:extLst>
                  <a:ext uri="{FF2B5EF4-FFF2-40B4-BE49-F238E27FC236}">
                    <a16:creationId xmlns:a16="http://schemas.microsoft.com/office/drawing/2014/main" id="{51C06A5D-C7C8-5E22-1810-09B05C4EF0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2">
                <a:extLst>
                  <a:ext uri="{FF2B5EF4-FFF2-40B4-BE49-F238E27FC236}">
                    <a16:creationId xmlns:a16="http://schemas.microsoft.com/office/drawing/2014/main" id="{D94143F8-AE45-B440-0227-D9A7DC2C61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3">
                <a:extLst>
                  <a:ext uri="{FF2B5EF4-FFF2-40B4-BE49-F238E27FC236}">
                    <a16:creationId xmlns:a16="http://schemas.microsoft.com/office/drawing/2014/main" id="{22C1A73C-C3FC-2222-DB28-40F0739728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44">
                <a:extLst>
                  <a:ext uri="{FF2B5EF4-FFF2-40B4-BE49-F238E27FC236}">
                    <a16:creationId xmlns:a16="http://schemas.microsoft.com/office/drawing/2014/main" id="{E7F66AF7-6701-166B-6FF7-481E66E05D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BEDF6CD3-6A39-AEEB-E69A-85042E677153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" name="Footnote measure">
              <a:extLst>
                <a:ext uri="{FF2B5EF4-FFF2-40B4-BE49-F238E27FC236}">
                  <a16:creationId xmlns:a16="http://schemas.microsoft.com/office/drawing/2014/main" id="{E8D2DF28-E6D4-0CFB-35F0-8E52749980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Whitespace measure">
              <a:extLst>
                <a:ext uri="{FF2B5EF4-FFF2-40B4-BE49-F238E27FC236}">
                  <a16:creationId xmlns:a16="http://schemas.microsoft.com/office/drawing/2014/main" id="{74A65713-D897-9CE3-C8CD-A7C184738F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Five column measure">
              <a:extLst>
                <a:ext uri="{FF2B5EF4-FFF2-40B4-BE49-F238E27FC236}">
                  <a16:creationId xmlns:a16="http://schemas.microsoft.com/office/drawing/2014/main" id="{120AE26A-84B8-CD39-6DE7-F4539A25A812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" name="Rectangle 5">
                <a:extLst>
                  <a:ext uri="{FF2B5EF4-FFF2-40B4-BE49-F238E27FC236}">
                    <a16:creationId xmlns:a16="http://schemas.microsoft.com/office/drawing/2014/main" id="{CE609836-C095-D8D5-70F7-76CEA5DB34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7">
                <a:extLst>
                  <a:ext uri="{FF2B5EF4-FFF2-40B4-BE49-F238E27FC236}">
                    <a16:creationId xmlns:a16="http://schemas.microsoft.com/office/drawing/2014/main" id="{EAA8B7E6-A491-79DB-A681-61CD93C946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9">
                <a:extLst>
                  <a:ext uri="{FF2B5EF4-FFF2-40B4-BE49-F238E27FC236}">
                    <a16:creationId xmlns:a16="http://schemas.microsoft.com/office/drawing/2014/main" id="{549D735A-9BB0-F4C3-C21A-C6D5D0C859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1">
                <a:extLst>
                  <a:ext uri="{FF2B5EF4-FFF2-40B4-BE49-F238E27FC236}">
                    <a16:creationId xmlns:a16="http://schemas.microsoft.com/office/drawing/2014/main" id="{C6F96A87-41E1-F831-23C8-378867E040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13">
                <a:extLst>
                  <a:ext uri="{FF2B5EF4-FFF2-40B4-BE49-F238E27FC236}">
                    <a16:creationId xmlns:a16="http://schemas.microsoft.com/office/drawing/2014/main" id="{1D003C81-3A25-6BD9-5885-A59E481737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" name="Live area">
              <a:extLst>
                <a:ext uri="{FF2B5EF4-FFF2-40B4-BE49-F238E27FC236}">
                  <a16:creationId xmlns:a16="http://schemas.microsoft.com/office/drawing/2014/main" id="{FF793318-1298-A458-4303-0E741FCB0B54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D16567EB-4D6B-6377-7DBA-87D2BD31C86D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03558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4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BD820A6-9C6B-2CFC-05E6-4C5179F169C7}"/>
              </a:ext>
            </a:extLst>
          </p:cNvPr>
          <p:cNvGrpSpPr/>
          <p:nvPr userDrawn="1">
            <p:custDataLst>
              <p:tags r:id="rId4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" name="No fly zone">
              <a:extLst>
                <a:ext uri="{FF2B5EF4-FFF2-40B4-BE49-F238E27FC236}">
                  <a16:creationId xmlns:a16="http://schemas.microsoft.com/office/drawing/2014/main" id="{F7649027-DFBD-5951-A501-24AE6B0BB1E4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6" name="Baselines / anchors">
              <a:extLst>
                <a:ext uri="{FF2B5EF4-FFF2-40B4-BE49-F238E27FC236}">
                  <a16:creationId xmlns:a16="http://schemas.microsoft.com/office/drawing/2014/main" id="{7819639F-34BB-0ED5-1A90-9214F051FFE1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F914F70B-4BBF-4478-F510-735A97E02A24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C0B624F5-E330-9999-E699-65E2C321BBB3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ABA07E6B-5EA8-3AA0-1FF8-13C5EDC72BB6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71A75A37-B185-854B-39E3-C9C951D70A31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5F964BBE-68D7-2704-24E9-6C37C8F07D0A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5B630B26-6E35-0DE1-1BB7-6E9D6BAB9BFB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931A0DC0-BBD6-4D1F-4A2A-3906BB91F0C6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0DC6B77D-2BF6-84A0-663B-1F1BCB33A00E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846F2E23-88DF-7013-81AD-CD242C2A39F1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B70DF2BC-2AC6-8133-B44D-55CC2B87A43A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06D088DE-9181-2FBD-A3EF-FC9173A062CE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E44CF5AB-97F9-B70F-2E1D-14F2464E9A0B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4E8E3D5D-46F6-4582-612A-E4B3F2BD5334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4E674070-273B-64EB-86A2-012E3CE6C54F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8D17EA3B-03C4-8DB4-E158-75AD8A9633BC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072F995A-4A3B-8FF2-7C10-4F13AE8FE635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A0CFEB1C-7EB6-10E0-5E2F-7B50062E0C85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BB2F8EAA-E4EC-4D99-48BD-98B7BE33EA0C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856C8AAF-61A1-C2A5-67C3-165D5662787B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9FC5A60F-92E0-2CA7-28D4-6F4617D04C21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utter space">
              <a:extLst>
                <a:ext uri="{FF2B5EF4-FFF2-40B4-BE49-F238E27FC236}">
                  <a16:creationId xmlns:a16="http://schemas.microsoft.com/office/drawing/2014/main" id="{AEBFDAFE-D7F7-EA84-0F11-5F82202801EA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3" name="Rectangle 34">
                <a:extLst>
                  <a:ext uri="{FF2B5EF4-FFF2-40B4-BE49-F238E27FC236}">
                    <a16:creationId xmlns:a16="http://schemas.microsoft.com/office/drawing/2014/main" id="{0C8C483B-34F7-91A4-8F16-A99D17D827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5">
                <a:extLst>
                  <a:ext uri="{FF2B5EF4-FFF2-40B4-BE49-F238E27FC236}">
                    <a16:creationId xmlns:a16="http://schemas.microsoft.com/office/drawing/2014/main" id="{F3395F98-E881-0F25-E64E-F4FBE50604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6">
                <a:extLst>
                  <a:ext uri="{FF2B5EF4-FFF2-40B4-BE49-F238E27FC236}">
                    <a16:creationId xmlns:a16="http://schemas.microsoft.com/office/drawing/2014/main" id="{615C0745-28F8-851F-DB98-0EE545EFB3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7">
                <a:extLst>
                  <a:ext uri="{FF2B5EF4-FFF2-40B4-BE49-F238E27FC236}">
                    <a16:creationId xmlns:a16="http://schemas.microsoft.com/office/drawing/2014/main" id="{D2BE9D4C-773D-70EF-6A5E-A71EEE38D6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8">
                <a:extLst>
                  <a:ext uri="{FF2B5EF4-FFF2-40B4-BE49-F238E27FC236}">
                    <a16:creationId xmlns:a16="http://schemas.microsoft.com/office/drawing/2014/main" id="{6BA30699-4FC5-A35F-56BF-2745DDD9FE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39">
                <a:extLst>
                  <a:ext uri="{FF2B5EF4-FFF2-40B4-BE49-F238E27FC236}">
                    <a16:creationId xmlns:a16="http://schemas.microsoft.com/office/drawing/2014/main" id="{9E96D79B-B174-9E4A-5EF8-61D3D25BAE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0">
                <a:extLst>
                  <a:ext uri="{FF2B5EF4-FFF2-40B4-BE49-F238E27FC236}">
                    <a16:creationId xmlns:a16="http://schemas.microsoft.com/office/drawing/2014/main" id="{9A734A14-368C-9A5C-C8AE-EFA5F847D9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1">
                <a:extLst>
                  <a:ext uri="{FF2B5EF4-FFF2-40B4-BE49-F238E27FC236}">
                    <a16:creationId xmlns:a16="http://schemas.microsoft.com/office/drawing/2014/main" id="{F010362F-D379-E1DE-6B6A-FD17C757B0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2">
                <a:extLst>
                  <a:ext uri="{FF2B5EF4-FFF2-40B4-BE49-F238E27FC236}">
                    <a16:creationId xmlns:a16="http://schemas.microsoft.com/office/drawing/2014/main" id="{66B2C69A-056C-29C2-391B-A80A90F68D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3">
                <a:extLst>
                  <a:ext uri="{FF2B5EF4-FFF2-40B4-BE49-F238E27FC236}">
                    <a16:creationId xmlns:a16="http://schemas.microsoft.com/office/drawing/2014/main" id="{ABB5DC0A-8E18-6A85-4B38-FD0DD46707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44">
                <a:extLst>
                  <a:ext uri="{FF2B5EF4-FFF2-40B4-BE49-F238E27FC236}">
                    <a16:creationId xmlns:a16="http://schemas.microsoft.com/office/drawing/2014/main" id="{8A9CD1A6-FFCB-657B-C568-C10395D53B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9" name="Slide edges">
              <a:extLst>
                <a:ext uri="{FF2B5EF4-FFF2-40B4-BE49-F238E27FC236}">
                  <a16:creationId xmlns:a16="http://schemas.microsoft.com/office/drawing/2014/main" id="{7EA2EE72-7054-9E1A-4938-EBDB0A50D28A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3" name="Footnote measure">
              <a:extLst>
                <a:ext uri="{FF2B5EF4-FFF2-40B4-BE49-F238E27FC236}">
                  <a16:creationId xmlns:a16="http://schemas.microsoft.com/office/drawing/2014/main" id="{B124BAA1-F9E4-217A-7B20-6F9D4B643B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Whitespace measure">
              <a:extLst>
                <a:ext uri="{FF2B5EF4-FFF2-40B4-BE49-F238E27FC236}">
                  <a16:creationId xmlns:a16="http://schemas.microsoft.com/office/drawing/2014/main" id="{6733D669-AD98-9ACA-6296-EA26076D7C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5" name="Five column measure">
              <a:extLst>
                <a:ext uri="{FF2B5EF4-FFF2-40B4-BE49-F238E27FC236}">
                  <a16:creationId xmlns:a16="http://schemas.microsoft.com/office/drawing/2014/main" id="{10F1992A-1FD3-517A-5093-95A2539D599F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8" name="Rectangle 5">
                <a:extLst>
                  <a:ext uri="{FF2B5EF4-FFF2-40B4-BE49-F238E27FC236}">
                    <a16:creationId xmlns:a16="http://schemas.microsoft.com/office/drawing/2014/main" id="{B1A1D067-4AA7-3834-169A-ABD468BE58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7">
                <a:extLst>
                  <a:ext uri="{FF2B5EF4-FFF2-40B4-BE49-F238E27FC236}">
                    <a16:creationId xmlns:a16="http://schemas.microsoft.com/office/drawing/2014/main" id="{1566104A-AEFB-8551-3D38-2CA7979538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9">
                <a:extLst>
                  <a:ext uri="{FF2B5EF4-FFF2-40B4-BE49-F238E27FC236}">
                    <a16:creationId xmlns:a16="http://schemas.microsoft.com/office/drawing/2014/main" id="{F68F91EE-B7BF-FBE7-77FB-3E9131F9D1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1">
                <a:extLst>
                  <a:ext uri="{FF2B5EF4-FFF2-40B4-BE49-F238E27FC236}">
                    <a16:creationId xmlns:a16="http://schemas.microsoft.com/office/drawing/2014/main" id="{2D546182-B208-5629-58A9-CC4F650263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13">
                <a:extLst>
                  <a:ext uri="{FF2B5EF4-FFF2-40B4-BE49-F238E27FC236}">
                    <a16:creationId xmlns:a16="http://schemas.microsoft.com/office/drawing/2014/main" id="{253626C8-8E4A-D026-1594-97644EBB89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6" name="Live area">
              <a:extLst>
                <a:ext uri="{FF2B5EF4-FFF2-40B4-BE49-F238E27FC236}">
                  <a16:creationId xmlns:a16="http://schemas.microsoft.com/office/drawing/2014/main" id="{9AAC9016-6EF9-0510-7B03-4CD3427B4C75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7" name="Footnote example">
              <a:extLst>
                <a:ext uri="{FF2B5EF4-FFF2-40B4-BE49-F238E27FC236}">
                  <a16:creationId xmlns:a16="http://schemas.microsoft.com/office/drawing/2014/main" id="{A12B6233-8990-1EF0-9C27-B40A70C5AAC8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47120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26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9FA3192-90CD-B1E9-1491-D79ED376CBD2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211F9685-8D88-C0D3-230A-EB856903AEE8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1FDE7E0C-F5C1-20DE-A853-4FA14CE0A172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12D8ED33-D7CA-17E4-5C3C-DE464A163921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97960EC1-EE42-0EBD-1C9F-6392FBAA9AAE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9C7C846F-0A8E-50C7-85C7-A7BAF908754D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3499BF1F-4BC1-D94A-274F-1F6F00392433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6C36169A-0195-32D6-52DA-769C9AF45CFC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0F7915E0-E481-43E6-126B-97D526C649B5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C210AEB3-6F56-7307-50B2-D6FCB1359144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B1C73CC1-D976-6AF0-A650-CEAA44B6E6DA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72184245-20F5-23C6-D5C8-46A114520421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0B64A3FC-9C1A-6F70-4B60-41BC443FD301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02F63932-FEFD-3D53-44A7-D71B551F341E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1603A4D7-7EB9-12DF-35E6-20998A79BAB8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C8100F46-7B69-E10B-5E4F-718B5193EE28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972B6797-0758-CFE1-0CC2-5B6EDAAA81BC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37A4A19A-19AB-763D-B59E-A002F9D588D5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93CD8C03-8E4F-0EF5-CF5D-03D0175CB0F0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554C1F57-D541-B412-9820-95636F647920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D8DBFEC3-8B46-E070-220C-0618CDA5EC81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9835A1ED-80C2-48B2-2F77-F74E2D349236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90A8910C-97E3-96C0-AC2B-A4605E9418E9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012690EB-4C8D-2FF4-4536-3DEE7FA28A44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1" name="Rectangle 34">
                <a:extLst>
                  <a:ext uri="{FF2B5EF4-FFF2-40B4-BE49-F238E27FC236}">
                    <a16:creationId xmlns:a16="http://schemas.microsoft.com/office/drawing/2014/main" id="{EA0E4E0A-E3B8-7E2B-2432-1EB3C96F2F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5">
                <a:extLst>
                  <a:ext uri="{FF2B5EF4-FFF2-40B4-BE49-F238E27FC236}">
                    <a16:creationId xmlns:a16="http://schemas.microsoft.com/office/drawing/2014/main" id="{53FEFB6C-221C-ED31-FD33-D84D6D2253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6">
                <a:extLst>
                  <a:ext uri="{FF2B5EF4-FFF2-40B4-BE49-F238E27FC236}">
                    <a16:creationId xmlns:a16="http://schemas.microsoft.com/office/drawing/2014/main" id="{659FE46F-0EDD-D65A-5522-8DE642F772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7">
                <a:extLst>
                  <a:ext uri="{FF2B5EF4-FFF2-40B4-BE49-F238E27FC236}">
                    <a16:creationId xmlns:a16="http://schemas.microsoft.com/office/drawing/2014/main" id="{ABBB937B-AC47-0891-FF06-EE875ED32D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8">
                <a:extLst>
                  <a:ext uri="{FF2B5EF4-FFF2-40B4-BE49-F238E27FC236}">
                    <a16:creationId xmlns:a16="http://schemas.microsoft.com/office/drawing/2014/main" id="{4ABD812D-29FA-B1CD-EE58-DF21DD86FA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9">
                <a:extLst>
                  <a:ext uri="{FF2B5EF4-FFF2-40B4-BE49-F238E27FC236}">
                    <a16:creationId xmlns:a16="http://schemas.microsoft.com/office/drawing/2014/main" id="{F1AD6390-B3B3-3E38-4DC3-313E296749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0">
                <a:extLst>
                  <a:ext uri="{FF2B5EF4-FFF2-40B4-BE49-F238E27FC236}">
                    <a16:creationId xmlns:a16="http://schemas.microsoft.com/office/drawing/2014/main" id="{F469B66D-B651-1CB9-3413-E9666FABC4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1">
                <a:extLst>
                  <a:ext uri="{FF2B5EF4-FFF2-40B4-BE49-F238E27FC236}">
                    <a16:creationId xmlns:a16="http://schemas.microsoft.com/office/drawing/2014/main" id="{027AFE79-2F1F-27EA-A8B1-BC3A639DA7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2">
                <a:extLst>
                  <a:ext uri="{FF2B5EF4-FFF2-40B4-BE49-F238E27FC236}">
                    <a16:creationId xmlns:a16="http://schemas.microsoft.com/office/drawing/2014/main" id="{CC0DAE4F-5575-A111-50AA-0F765789A5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3">
                <a:extLst>
                  <a:ext uri="{FF2B5EF4-FFF2-40B4-BE49-F238E27FC236}">
                    <a16:creationId xmlns:a16="http://schemas.microsoft.com/office/drawing/2014/main" id="{3388D263-6B8F-5AA0-17C9-8ABB14523E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4">
                <a:extLst>
                  <a:ext uri="{FF2B5EF4-FFF2-40B4-BE49-F238E27FC236}">
                    <a16:creationId xmlns:a16="http://schemas.microsoft.com/office/drawing/2014/main" id="{092923A0-638D-5AF9-243A-4B50E4B0C0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8" name="Slide edges">
              <a:extLst>
                <a:ext uri="{FF2B5EF4-FFF2-40B4-BE49-F238E27FC236}">
                  <a16:creationId xmlns:a16="http://schemas.microsoft.com/office/drawing/2014/main" id="{D3CF60A8-2B4C-2DB8-5130-73AAFFC0273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:a16="http://schemas.microsoft.com/office/drawing/2014/main" id="{FC444781-ABF1-3641-0B47-63E4E16146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E4D4D268-CF8A-B642-73DD-3A3777458B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C0B3B755-4179-72FE-91C2-478565B7A82B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6" name="Rectangle 5">
                <a:extLst>
                  <a:ext uri="{FF2B5EF4-FFF2-40B4-BE49-F238E27FC236}">
                    <a16:creationId xmlns:a16="http://schemas.microsoft.com/office/drawing/2014/main" id="{618DE969-39FF-D8B8-3BC6-ACB4A11682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7">
                <a:extLst>
                  <a:ext uri="{FF2B5EF4-FFF2-40B4-BE49-F238E27FC236}">
                    <a16:creationId xmlns:a16="http://schemas.microsoft.com/office/drawing/2014/main" id="{08966720-80B3-D4D2-0384-E1405B45B9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9">
                <a:extLst>
                  <a:ext uri="{FF2B5EF4-FFF2-40B4-BE49-F238E27FC236}">
                    <a16:creationId xmlns:a16="http://schemas.microsoft.com/office/drawing/2014/main" id="{E6D9B432-2861-5A61-C9EC-4028169B38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1">
                <a:extLst>
                  <a:ext uri="{FF2B5EF4-FFF2-40B4-BE49-F238E27FC236}">
                    <a16:creationId xmlns:a16="http://schemas.microsoft.com/office/drawing/2014/main" id="{EFCC78F6-7A7F-EAB9-0AC8-F6F02BE9B0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3">
                <a:extLst>
                  <a:ext uri="{FF2B5EF4-FFF2-40B4-BE49-F238E27FC236}">
                    <a16:creationId xmlns:a16="http://schemas.microsoft.com/office/drawing/2014/main" id="{706EF70E-2580-53E9-64F8-3735B776B5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4" name="Live area">
              <a:extLst>
                <a:ext uri="{FF2B5EF4-FFF2-40B4-BE49-F238E27FC236}">
                  <a16:creationId xmlns:a16="http://schemas.microsoft.com/office/drawing/2014/main" id="{0AB390E0-778F-353C-DC81-067F57FDB8AD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5" name="Footnote example">
              <a:extLst>
                <a:ext uri="{FF2B5EF4-FFF2-40B4-BE49-F238E27FC236}">
                  <a16:creationId xmlns:a16="http://schemas.microsoft.com/office/drawing/2014/main" id="{E967E3E8-B9CD-D374-DB6B-7B056F28FD17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6612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06423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5429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29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F9868C0C-E1F5-ABD4-90A1-0D06C18EDC6A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FE58FB41-E720-396D-76F5-312E181F2000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D987AA4E-0123-ED61-CB94-CF64540F9215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78AB34FF-26D6-2FC1-562E-9645C73F0356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A7D8D174-B6A7-BC50-D790-DE254F3A51E2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F238366E-E0B9-FA26-73D0-55754B4B7D3D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8018F1E7-1655-B60A-0806-27B4906A371A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1CF5D5A0-77CE-4468-8CC7-44FB091611FF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CF77A647-EFAE-34AF-A045-AA9B14A4701F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DE753E36-BF24-29BF-5DB5-6C11801C3E0E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3B5B56FF-2248-B3D0-6089-76259DA29286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3D4E2150-936F-F8FE-F93F-2A863DE00ED2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B6EB857F-8BF3-41F8-DD63-7696C80194BF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CFF4451D-4C98-3B35-0CF7-C46A613EA13E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D296C268-0C30-FEE1-420A-E94F1D000548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7D97410A-2AF9-4BD0-E12C-9252658D55F7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41A32651-5D4B-7937-2D78-C6C0E7773F18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6EC5C2AB-CD51-ED34-9E6D-C0068209B800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C5BE405E-BAA8-CF2E-7A6B-4A69A794B7C0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43CA858D-0D4D-B03B-BC56-1D3D44786647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6CFBA6E6-3C22-3F71-7644-3ECA501806C9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552C7216-AB5A-2046-6A80-1B6659F9D5AD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DB7F5EFA-6C13-CF75-FCC1-D90BB77DD0DF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F81FCB1D-07CF-EA7A-AC51-A89934BC7CED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1" name="Rectangle 34">
                <a:extLst>
                  <a:ext uri="{FF2B5EF4-FFF2-40B4-BE49-F238E27FC236}">
                    <a16:creationId xmlns:a16="http://schemas.microsoft.com/office/drawing/2014/main" id="{412A2D6C-E586-408A-CFA7-DE4EBFDB82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5">
                <a:extLst>
                  <a:ext uri="{FF2B5EF4-FFF2-40B4-BE49-F238E27FC236}">
                    <a16:creationId xmlns:a16="http://schemas.microsoft.com/office/drawing/2014/main" id="{868A04B1-D6AA-E199-1922-98CEE9044B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6">
                <a:extLst>
                  <a:ext uri="{FF2B5EF4-FFF2-40B4-BE49-F238E27FC236}">
                    <a16:creationId xmlns:a16="http://schemas.microsoft.com/office/drawing/2014/main" id="{4039CD2E-D68B-8494-CE6A-26325B5CCD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7">
                <a:extLst>
                  <a:ext uri="{FF2B5EF4-FFF2-40B4-BE49-F238E27FC236}">
                    <a16:creationId xmlns:a16="http://schemas.microsoft.com/office/drawing/2014/main" id="{805BF2F4-9C1E-47B7-28A3-7C37E67C73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8">
                <a:extLst>
                  <a:ext uri="{FF2B5EF4-FFF2-40B4-BE49-F238E27FC236}">
                    <a16:creationId xmlns:a16="http://schemas.microsoft.com/office/drawing/2014/main" id="{BC70BB28-B900-DD38-FD74-3928E80F1C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9">
                <a:extLst>
                  <a:ext uri="{FF2B5EF4-FFF2-40B4-BE49-F238E27FC236}">
                    <a16:creationId xmlns:a16="http://schemas.microsoft.com/office/drawing/2014/main" id="{A178910E-B9EA-3367-B49C-01211C7524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0">
                <a:extLst>
                  <a:ext uri="{FF2B5EF4-FFF2-40B4-BE49-F238E27FC236}">
                    <a16:creationId xmlns:a16="http://schemas.microsoft.com/office/drawing/2014/main" id="{F7F2222A-8482-A9F5-1304-6A0CE377AD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1">
                <a:extLst>
                  <a:ext uri="{FF2B5EF4-FFF2-40B4-BE49-F238E27FC236}">
                    <a16:creationId xmlns:a16="http://schemas.microsoft.com/office/drawing/2014/main" id="{1FE8C39A-CF2A-E4A3-1E1D-F17E518559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2">
                <a:extLst>
                  <a:ext uri="{FF2B5EF4-FFF2-40B4-BE49-F238E27FC236}">
                    <a16:creationId xmlns:a16="http://schemas.microsoft.com/office/drawing/2014/main" id="{ACB9100D-95CA-225F-4BFC-E04427EE94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3">
                <a:extLst>
                  <a:ext uri="{FF2B5EF4-FFF2-40B4-BE49-F238E27FC236}">
                    <a16:creationId xmlns:a16="http://schemas.microsoft.com/office/drawing/2014/main" id="{187830B6-E847-4F98-38F6-2A5C153863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4">
                <a:extLst>
                  <a:ext uri="{FF2B5EF4-FFF2-40B4-BE49-F238E27FC236}">
                    <a16:creationId xmlns:a16="http://schemas.microsoft.com/office/drawing/2014/main" id="{AF5CD056-A8F5-EDBF-5F3A-42189D1A08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8" name="Slide edges">
              <a:extLst>
                <a:ext uri="{FF2B5EF4-FFF2-40B4-BE49-F238E27FC236}">
                  <a16:creationId xmlns:a16="http://schemas.microsoft.com/office/drawing/2014/main" id="{87A278F4-DE38-EB3C-E289-5D3744A11396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:a16="http://schemas.microsoft.com/office/drawing/2014/main" id="{A5346862-BAD4-33DD-102E-DD92916F92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980EE35D-1158-F3A6-73D6-52942E70F1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D312C19E-B4CA-77B4-03E6-7320BBEA48CD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6" name="Rectangle 5">
                <a:extLst>
                  <a:ext uri="{FF2B5EF4-FFF2-40B4-BE49-F238E27FC236}">
                    <a16:creationId xmlns:a16="http://schemas.microsoft.com/office/drawing/2014/main" id="{BF133050-59FD-E5C2-2B2F-F806922EB5B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7">
                <a:extLst>
                  <a:ext uri="{FF2B5EF4-FFF2-40B4-BE49-F238E27FC236}">
                    <a16:creationId xmlns:a16="http://schemas.microsoft.com/office/drawing/2014/main" id="{DEDE0052-8781-F6C2-6246-870EFAF269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9">
                <a:extLst>
                  <a:ext uri="{FF2B5EF4-FFF2-40B4-BE49-F238E27FC236}">
                    <a16:creationId xmlns:a16="http://schemas.microsoft.com/office/drawing/2014/main" id="{3336A52D-BBDE-60D3-5CB9-E4C34D701F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1">
                <a:extLst>
                  <a:ext uri="{FF2B5EF4-FFF2-40B4-BE49-F238E27FC236}">
                    <a16:creationId xmlns:a16="http://schemas.microsoft.com/office/drawing/2014/main" id="{6ABC0838-0855-BC3B-4496-95AA9D864C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3">
                <a:extLst>
                  <a:ext uri="{FF2B5EF4-FFF2-40B4-BE49-F238E27FC236}">
                    <a16:creationId xmlns:a16="http://schemas.microsoft.com/office/drawing/2014/main" id="{767E87B6-C907-AA85-9B52-7CF7D7FD65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4" name="Live area">
              <a:extLst>
                <a:ext uri="{FF2B5EF4-FFF2-40B4-BE49-F238E27FC236}">
                  <a16:creationId xmlns:a16="http://schemas.microsoft.com/office/drawing/2014/main" id="{D95DA06E-378C-C197-FC32-AC992F239546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5" name="Footnote example">
              <a:extLst>
                <a:ext uri="{FF2B5EF4-FFF2-40B4-BE49-F238E27FC236}">
                  <a16:creationId xmlns:a16="http://schemas.microsoft.com/office/drawing/2014/main" id="{C61AEBEB-D10C-937B-E9B6-0A6AE136B01D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04728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3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314C165-21AE-41D5-3ED3-80E812707637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26D4C457-4272-D824-0244-7A30114E6C70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47F73F0C-8022-EFD2-51FB-504639FECF00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D8084DF5-B7B2-4334-9229-B3BEAC546517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E02F7549-70E1-53AB-DDCE-F5974A059636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D4D9EF5D-F1F1-C1FB-4760-2CE211F9E0E5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88EAE398-CAD2-17F1-03D0-7C03721E060D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8BDAFE98-DE0F-64B2-12B9-F99485C72F5F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1746D58D-6A32-EB76-1EBA-3C2DDAC445CD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9756E2B3-C0F9-680E-B5AE-D44F44E83ED6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243D3AA3-EC15-CC3E-F6C4-4D17E673D356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DAB7B87B-D69F-83CD-96E4-E3E65251CF55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AB7FB700-045B-5F72-E5B6-FD8E456F094F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D38EB9A1-A95E-FE87-26C5-60EE84DDB0BD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D0DA0841-19DB-93EC-9DEC-B8D6154D7F94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18F1D50B-B741-03EC-3B6C-3658C67DF24E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4676570C-79FA-3565-C66B-1E736BA78470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9CE2C572-34DE-E7FE-A526-B58D8988305D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DC87E881-D780-52F3-0F72-D0DD1C041DEE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140F181D-0C87-A2AB-43E5-1421B0AAE6C2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F065E389-33D5-10C1-6854-1F41C753CA76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6707E8D9-DA3B-A8D2-8EAA-22FA7ECAA81F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DB3D616F-DBEE-E251-675D-35FB2E75E498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B0F17921-193A-7818-1E80-A92322194CA6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2" name="Rectangle 34">
                <a:extLst>
                  <a:ext uri="{FF2B5EF4-FFF2-40B4-BE49-F238E27FC236}">
                    <a16:creationId xmlns:a16="http://schemas.microsoft.com/office/drawing/2014/main" id="{E5B03BDD-16D9-4E2C-B43D-AD39AEEC62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5">
                <a:extLst>
                  <a:ext uri="{FF2B5EF4-FFF2-40B4-BE49-F238E27FC236}">
                    <a16:creationId xmlns:a16="http://schemas.microsoft.com/office/drawing/2014/main" id="{1A0C61D4-8DC1-CA21-254E-C70F903818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6">
                <a:extLst>
                  <a:ext uri="{FF2B5EF4-FFF2-40B4-BE49-F238E27FC236}">
                    <a16:creationId xmlns:a16="http://schemas.microsoft.com/office/drawing/2014/main" id="{373A6767-6BA3-90C6-3C45-415B3242B0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7">
                <a:extLst>
                  <a:ext uri="{FF2B5EF4-FFF2-40B4-BE49-F238E27FC236}">
                    <a16:creationId xmlns:a16="http://schemas.microsoft.com/office/drawing/2014/main" id="{5D0C6A67-77E9-7834-AB72-0BD151E7DD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8">
                <a:extLst>
                  <a:ext uri="{FF2B5EF4-FFF2-40B4-BE49-F238E27FC236}">
                    <a16:creationId xmlns:a16="http://schemas.microsoft.com/office/drawing/2014/main" id="{CAEE4215-F2D3-CEF7-6A0E-00E1B61D65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9">
                <a:extLst>
                  <a:ext uri="{FF2B5EF4-FFF2-40B4-BE49-F238E27FC236}">
                    <a16:creationId xmlns:a16="http://schemas.microsoft.com/office/drawing/2014/main" id="{84E09541-6EC8-77B4-C107-254E79B218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0">
                <a:extLst>
                  <a:ext uri="{FF2B5EF4-FFF2-40B4-BE49-F238E27FC236}">
                    <a16:creationId xmlns:a16="http://schemas.microsoft.com/office/drawing/2014/main" id="{843B4CD1-0CF0-ED85-1B93-E337E4D55E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1">
                <a:extLst>
                  <a:ext uri="{FF2B5EF4-FFF2-40B4-BE49-F238E27FC236}">
                    <a16:creationId xmlns:a16="http://schemas.microsoft.com/office/drawing/2014/main" id="{F973757E-201D-4A2E-C446-930B9D24CE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2">
                <a:extLst>
                  <a:ext uri="{FF2B5EF4-FFF2-40B4-BE49-F238E27FC236}">
                    <a16:creationId xmlns:a16="http://schemas.microsoft.com/office/drawing/2014/main" id="{66B9BDBF-F35C-EAB8-F221-39A258EA41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3">
                <a:extLst>
                  <a:ext uri="{FF2B5EF4-FFF2-40B4-BE49-F238E27FC236}">
                    <a16:creationId xmlns:a16="http://schemas.microsoft.com/office/drawing/2014/main" id="{A622BE76-C5E6-220E-66C0-A49992C2ED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4">
                <a:extLst>
                  <a:ext uri="{FF2B5EF4-FFF2-40B4-BE49-F238E27FC236}">
                    <a16:creationId xmlns:a16="http://schemas.microsoft.com/office/drawing/2014/main" id="{9CF4E354-C455-6E4F-37D8-74CFF97DD5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8A07D7F8-59C6-2719-BCB7-BA0948537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" name="Footnote measure">
              <a:extLst>
                <a:ext uri="{FF2B5EF4-FFF2-40B4-BE49-F238E27FC236}">
                  <a16:creationId xmlns:a16="http://schemas.microsoft.com/office/drawing/2014/main" id="{8115D2F7-07FC-FCD1-3963-3D84A3641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Whitespace measure">
              <a:extLst>
                <a:ext uri="{FF2B5EF4-FFF2-40B4-BE49-F238E27FC236}">
                  <a16:creationId xmlns:a16="http://schemas.microsoft.com/office/drawing/2014/main" id="{43265EDE-1830-3598-2624-378FA25236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Five column measure">
              <a:extLst>
                <a:ext uri="{FF2B5EF4-FFF2-40B4-BE49-F238E27FC236}">
                  <a16:creationId xmlns:a16="http://schemas.microsoft.com/office/drawing/2014/main" id="{4CC6B476-B523-0013-03C0-E988E6B96CE6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6" name="Rectangle 5">
                <a:extLst>
                  <a:ext uri="{FF2B5EF4-FFF2-40B4-BE49-F238E27FC236}">
                    <a16:creationId xmlns:a16="http://schemas.microsoft.com/office/drawing/2014/main" id="{535AD2D4-7570-8662-36DB-26070C6689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7">
                <a:extLst>
                  <a:ext uri="{FF2B5EF4-FFF2-40B4-BE49-F238E27FC236}">
                    <a16:creationId xmlns:a16="http://schemas.microsoft.com/office/drawing/2014/main" id="{B5793358-EFD0-9B6B-68D1-74C7929AF6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9">
                <a:extLst>
                  <a:ext uri="{FF2B5EF4-FFF2-40B4-BE49-F238E27FC236}">
                    <a16:creationId xmlns:a16="http://schemas.microsoft.com/office/drawing/2014/main" id="{A762311A-A766-EABD-A864-22D1C45E0E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1">
                <a:extLst>
                  <a:ext uri="{FF2B5EF4-FFF2-40B4-BE49-F238E27FC236}">
                    <a16:creationId xmlns:a16="http://schemas.microsoft.com/office/drawing/2014/main" id="{043F2E03-F19F-0E76-0796-1F6110A9B2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3">
                <a:extLst>
                  <a:ext uri="{FF2B5EF4-FFF2-40B4-BE49-F238E27FC236}">
                    <a16:creationId xmlns:a16="http://schemas.microsoft.com/office/drawing/2014/main" id="{E844A61E-DA6F-D87F-9FDC-C39C7E89CE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" name="Live area">
              <a:extLst>
                <a:ext uri="{FF2B5EF4-FFF2-40B4-BE49-F238E27FC236}">
                  <a16:creationId xmlns:a16="http://schemas.microsoft.com/office/drawing/2014/main" id="{7651C20F-9E89-DDE4-ED97-CF9B93AE55AC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B55B3F25-CCAA-1413-886C-7C70A11E0F1A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30020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34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/>
              <a:t>Agenda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FAFDE49-07D2-14EC-3B71-536EC1A159B6}"/>
              </a:ext>
            </a:extLst>
          </p:cNvPr>
          <p:cNvGrpSpPr/>
          <p:nvPr userDrawn="1">
            <p:custDataLst>
              <p:tags r:id="rId4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E4B16DD9-8C3B-754D-2B09-0A906C505449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8B606B98-4A33-593C-FEC9-39E2C281A974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EFC82904-8597-0994-8347-BCBF0BC0D36B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91CBB4E2-A172-6F98-9589-52FDD3AAB030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FA7E51C2-4B29-5883-B831-4E5F029CF0E7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6A05E5EA-EC01-3880-D640-071D05CC7535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2EA7B073-5AE0-81CC-9B4A-9D88DF904BDD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0338C644-6B81-FDB5-72C4-E248DABFE2E5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350F729B-1A35-B6B2-9049-82A981A6EE5D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12DEB4D1-BFED-B561-D3DF-6226AE56E38A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44517995-CA83-2188-6390-36962E86F369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6562C3B0-B0F8-BDCE-E8DF-0FB0376FF5FC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A98A03AC-954F-A319-242D-707FD65EE84A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9986FDBE-212B-3825-7873-9D6B160288F9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70622630-0D15-9FE1-2832-0C39F8EF2400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CBA3917D-E645-EC2D-8808-5A0EE5D2029D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55E96B40-8676-DFBF-F89A-96509A155977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D3C12485-C8FF-B5D8-F6D4-8BBB725248E5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8FD65D3D-D9DF-B6C8-3493-1191C8A5B9E6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709F50AF-59EF-EB4C-6354-FAA31246EDA2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2DC6D35D-78F7-C30E-28DC-C1AAD57E5C6A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DF4ED0FA-E5DC-3655-5601-CBACC5813BF1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9E2DC444-4224-F276-B05F-A2880FE2FD61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2" name="Rectangle 34">
                <a:extLst>
                  <a:ext uri="{FF2B5EF4-FFF2-40B4-BE49-F238E27FC236}">
                    <a16:creationId xmlns:a16="http://schemas.microsoft.com/office/drawing/2014/main" id="{91DF7EB4-2B42-7677-587F-56F4A06CA2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5">
                <a:extLst>
                  <a:ext uri="{FF2B5EF4-FFF2-40B4-BE49-F238E27FC236}">
                    <a16:creationId xmlns:a16="http://schemas.microsoft.com/office/drawing/2014/main" id="{90A98913-4ABD-B407-F4B1-02AE7BEF1A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6">
                <a:extLst>
                  <a:ext uri="{FF2B5EF4-FFF2-40B4-BE49-F238E27FC236}">
                    <a16:creationId xmlns:a16="http://schemas.microsoft.com/office/drawing/2014/main" id="{CE5CE983-088E-808B-1E97-7760B754B9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7">
                <a:extLst>
                  <a:ext uri="{FF2B5EF4-FFF2-40B4-BE49-F238E27FC236}">
                    <a16:creationId xmlns:a16="http://schemas.microsoft.com/office/drawing/2014/main" id="{B6F60725-A7A7-D44E-73EE-63E7BDDCC4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8">
                <a:extLst>
                  <a:ext uri="{FF2B5EF4-FFF2-40B4-BE49-F238E27FC236}">
                    <a16:creationId xmlns:a16="http://schemas.microsoft.com/office/drawing/2014/main" id="{7E5F5E3B-8FB2-FF87-2A6B-8B36F1CA51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9">
                <a:extLst>
                  <a:ext uri="{FF2B5EF4-FFF2-40B4-BE49-F238E27FC236}">
                    <a16:creationId xmlns:a16="http://schemas.microsoft.com/office/drawing/2014/main" id="{E516FE30-54FA-4043-2446-7C66DA0A75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0">
                <a:extLst>
                  <a:ext uri="{FF2B5EF4-FFF2-40B4-BE49-F238E27FC236}">
                    <a16:creationId xmlns:a16="http://schemas.microsoft.com/office/drawing/2014/main" id="{AFE98A4C-A4B6-6A48-56F3-85F1C18AF4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1">
                <a:extLst>
                  <a:ext uri="{FF2B5EF4-FFF2-40B4-BE49-F238E27FC236}">
                    <a16:creationId xmlns:a16="http://schemas.microsoft.com/office/drawing/2014/main" id="{B5C8F4F7-A082-29A4-B308-FDF4C3DE08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2">
                <a:extLst>
                  <a:ext uri="{FF2B5EF4-FFF2-40B4-BE49-F238E27FC236}">
                    <a16:creationId xmlns:a16="http://schemas.microsoft.com/office/drawing/2014/main" id="{247B9DFC-BB42-43FA-BA04-2C6A90430A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3">
                <a:extLst>
                  <a:ext uri="{FF2B5EF4-FFF2-40B4-BE49-F238E27FC236}">
                    <a16:creationId xmlns:a16="http://schemas.microsoft.com/office/drawing/2014/main" id="{B77B2ED3-B408-9955-528D-5A171C3D8D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4">
                <a:extLst>
                  <a:ext uri="{FF2B5EF4-FFF2-40B4-BE49-F238E27FC236}">
                    <a16:creationId xmlns:a16="http://schemas.microsoft.com/office/drawing/2014/main" id="{E29BFC32-8A13-CCF4-B21C-E9CD679F85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D17775C0-F509-0FA9-5F05-2D6FE9718FBB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2" name="Footnote measure">
              <a:extLst>
                <a:ext uri="{FF2B5EF4-FFF2-40B4-BE49-F238E27FC236}">
                  <a16:creationId xmlns:a16="http://schemas.microsoft.com/office/drawing/2014/main" id="{BB405D37-9EA9-AAED-2F9F-4CD75BAED3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Whitespace measure">
              <a:extLst>
                <a:ext uri="{FF2B5EF4-FFF2-40B4-BE49-F238E27FC236}">
                  <a16:creationId xmlns:a16="http://schemas.microsoft.com/office/drawing/2014/main" id="{A8CA9213-C416-6FB3-2365-1EC39FC109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4" name="Five column measure">
              <a:extLst>
                <a:ext uri="{FF2B5EF4-FFF2-40B4-BE49-F238E27FC236}">
                  <a16:creationId xmlns:a16="http://schemas.microsoft.com/office/drawing/2014/main" id="{83840C68-C99D-3D20-5DC1-8DD261B4349C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7" name="Rectangle 5">
                <a:extLst>
                  <a:ext uri="{FF2B5EF4-FFF2-40B4-BE49-F238E27FC236}">
                    <a16:creationId xmlns:a16="http://schemas.microsoft.com/office/drawing/2014/main" id="{63251F2E-C9C6-92D9-9F6F-73491E794C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7">
                <a:extLst>
                  <a:ext uri="{FF2B5EF4-FFF2-40B4-BE49-F238E27FC236}">
                    <a16:creationId xmlns:a16="http://schemas.microsoft.com/office/drawing/2014/main" id="{C29EAAC8-E66A-EF7A-DE38-6EF68E7506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9">
                <a:extLst>
                  <a:ext uri="{FF2B5EF4-FFF2-40B4-BE49-F238E27FC236}">
                    <a16:creationId xmlns:a16="http://schemas.microsoft.com/office/drawing/2014/main" id="{973E5125-BD5E-0F67-B3BA-FA1DEFCA4A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1">
                <a:extLst>
                  <a:ext uri="{FF2B5EF4-FFF2-40B4-BE49-F238E27FC236}">
                    <a16:creationId xmlns:a16="http://schemas.microsoft.com/office/drawing/2014/main" id="{33F8467A-8256-8F6D-04D0-897AD10AA12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3">
                <a:extLst>
                  <a:ext uri="{FF2B5EF4-FFF2-40B4-BE49-F238E27FC236}">
                    <a16:creationId xmlns:a16="http://schemas.microsoft.com/office/drawing/2014/main" id="{86B59927-3A2F-3BE6-6C53-2798F6B947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5" name="Live area">
              <a:extLst>
                <a:ext uri="{FF2B5EF4-FFF2-40B4-BE49-F238E27FC236}">
                  <a16:creationId xmlns:a16="http://schemas.microsoft.com/office/drawing/2014/main" id="{C03C35F1-FCA8-7C48-E0B6-7BDBFC28F810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6" name="Footnote example">
              <a:extLst>
                <a:ext uri="{FF2B5EF4-FFF2-40B4-BE49-F238E27FC236}">
                  <a16:creationId xmlns:a16="http://schemas.microsoft.com/office/drawing/2014/main" id="{8281455B-FEC5-4C4C-4253-6ECF0F66680E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23783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3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70E1D92-7E63-155D-DE52-9376820417C0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7BA7933B-DD9C-E5F3-25DA-E9F5C9525818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41D60700-C49B-CC32-0E07-2CD244425136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3340F798-75C3-9212-0199-EBDC79EB7B00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B288F795-4609-635E-D5D0-25C907445262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9213E802-5723-E038-3FA7-629D9E3FCA84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C3845435-8DBB-0771-6F43-27E6C863F84A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364B3875-B5C8-6DDA-805D-D9C2FCC32F71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C6B787BA-1BC0-3FEA-9490-8854FA39F5E3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91309D94-2D6A-6977-2408-FCAE604EBD56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BA7377EA-68EE-F3C8-09B5-984EBAFFC432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B409B2D2-785B-CAE6-9337-37FC65A4F8E0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D9F07404-6B0A-00E8-D4DF-B5A1C7594697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B3ED3B0A-0E03-8794-C522-4D4B97B81FF6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A108AA54-B0CF-1930-F463-BE94ED877778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37CECDDD-F9F4-E327-25C5-64A823300EDC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B1B7D0BC-FEBD-9092-EF67-86E87A155E05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B2153565-771E-763C-770E-C51F5B75A97E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FA3B2B8D-6AF3-A177-5D21-447EDF27F517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7BB8A3F0-0504-4DCC-D990-2B5D9F6AF33E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0AE4CFB2-60E9-03E0-915B-B8ECF133FE1B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96C68F7A-FA06-75F3-DF6B-C27ABD243ACB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C0C2077F-0861-396B-C9B2-360C8670968F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4137B458-F49A-4FD0-688D-0D92449AD1C7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0" name="Rectangle 34">
                <a:extLst>
                  <a:ext uri="{FF2B5EF4-FFF2-40B4-BE49-F238E27FC236}">
                    <a16:creationId xmlns:a16="http://schemas.microsoft.com/office/drawing/2014/main" id="{B6805574-D3D4-7EF7-EDA2-E3D4CD4303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35">
                <a:extLst>
                  <a:ext uri="{FF2B5EF4-FFF2-40B4-BE49-F238E27FC236}">
                    <a16:creationId xmlns:a16="http://schemas.microsoft.com/office/drawing/2014/main" id="{AFE17A9B-705A-CF10-45C8-3C84EA5CD0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6">
                <a:extLst>
                  <a:ext uri="{FF2B5EF4-FFF2-40B4-BE49-F238E27FC236}">
                    <a16:creationId xmlns:a16="http://schemas.microsoft.com/office/drawing/2014/main" id="{F6640419-E097-7F18-7604-A7B5D101EA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7">
                <a:extLst>
                  <a:ext uri="{FF2B5EF4-FFF2-40B4-BE49-F238E27FC236}">
                    <a16:creationId xmlns:a16="http://schemas.microsoft.com/office/drawing/2014/main" id="{BB877830-9377-8505-6F7E-365FC57126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8">
                <a:extLst>
                  <a:ext uri="{FF2B5EF4-FFF2-40B4-BE49-F238E27FC236}">
                    <a16:creationId xmlns:a16="http://schemas.microsoft.com/office/drawing/2014/main" id="{9A58A5BB-8AEB-E169-8DE2-4818BB221F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9">
                <a:extLst>
                  <a:ext uri="{FF2B5EF4-FFF2-40B4-BE49-F238E27FC236}">
                    <a16:creationId xmlns:a16="http://schemas.microsoft.com/office/drawing/2014/main" id="{80745D15-101C-5CE0-3C95-52D8068838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40">
                <a:extLst>
                  <a:ext uri="{FF2B5EF4-FFF2-40B4-BE49-F238E27FC236}">
                    <a16:creationId xmlns:a16="http://schemas.microsoft.com/office/drawing/2014/main" id="{D01CBDF0-51A2-18E8-FC0A-574A991184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1">
                <a:extLst>
                  <a:ext uri="{FF2B5EF4-FFF2-40B4-BE49-F238E27FC236}">
                    <a16:creationId xmlns:a16="http://schemas.microsoft.com/office/drawing/2014/main" id="{C67DBBCF-1C71-E9AF-B71C-4C4FD49AE5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2">
                <a:extLst>
                  <a:ext uri="{FF2B5EF4-FFF2-40B4-BE49-F238E27FC236}">
                    <a16:creationId xmlns:a16="http://schemas.microsoft.com/office/drawing/2014/main" id="{34E041E7-2867-0814-F3FA-074F7BC823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3">
                <a:extLst>
                  <a:ext uri="{FF2B5EF4-FFF2-40B4-BE49-F238E27FC236}">
                    <a16:creationId xmlns:a16="http://schemas.microsoft.com/office/drawing/2014/main" id="{0CF24439-C2C9-84C0-805F-D675F05A10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4">
                <a:extLst>
                  <a:ext uri="{FF2B5EF4-FFF2-40B4-BE49-F238E27FC236}">
                    <a16:creationId xmlns:a16="http://schemas.microsoft.com/office/drawing/2014/main" id="{AAFC123F-364C-789F-4953-7C57F9A76B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158EA7EA-77EB-A3D5-439E-EEF37DD78A2F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:a16="http://schemas.microsoft.com/office/drawing/2014/main" id="{E5B8B0FC-AF63-BE24-7452-E9478E1B17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9DE93F1D-B815-54C6-0694-65EDFB435D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5E9E24A3-52EA-2C57-928C-C059165A2536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" name="Rectangle 5">
                <a:extLst>
                  <a:ext uri="{FF2B5EF4-FFF2-40B4-BE49-F238E27FC236}">
                    <a16:creationId xmlns:a16="http://schemas.microsoft.com/office/drawing/2014/main" id="{91B17EA8-935E-6D2F-E357-C13FD3C2EA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7">
                <a:extLst>
                  <a:ext uri="{FF2B5EF4-FFF2-40B4-BE49-F238E27FC236}">
                    <a16:creationId xmlns:a16="http://schemas.microsoft.com/office/drawing/2014/main" id="{8EABB188-E2AA-866C-0BB2-CF893C3DFE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9">
                <a:extLst>
                  <a:ext uri="{FF2B5EF4-FFF2-40B4-BE49-F238E27FC236}">
                    <a16:creationId xmlns:a16="http://schemas.microsoft.com/office/drawing/2014/main" id="{25D31775-92B5-7863-C6E1-55E14A5844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11">
                <a:extLst>
                  <a:ext uri="{FF2B5EF4-FFF2-40B4-BE49-F238E27FC236}">
                    <a16:creationId xmlns:a16="http://schemas.microsoft.com/office/drawing/2014/main" id="{C456DB7F-E1C6-569B-4D21-5F8BA9C0DF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3">
                <a:extLst>
                  <a:ext uri="{FF2B5EF4-FFF2-40B4-BE49-F238E27FC236}">
                    <a16:creationId xmlns:a16="http://schemas.microsoft.com/office/drawing/2014/main" id="{B0E25E35-1168-23DA-E8D8-EBD70D8DCE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3" name="Live area">
              <a:extLst>
                <a:ext uri="{FF2B5EF4-FFF2-40B4-BE49-F238E27FC236}">
                  <a16:creationId xmlns:a16="http://schemas.microsoft.com/office/drawing/2014/main" id="{9A7926CC-7C0C-304A-1E4F-B45AB5444912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F96BC3F1-6F59-C558-E87B-937DFA93FD6A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25956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38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B9404D7F-4936-0873-9E63-D2E5ABC77C29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C272A51F-FE58-8224-A023-049102AE822C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13AE0B77-02E4-29EC-CDDE-E3C37271F0FD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A8C82828-50A2-07B3-6FE8-5B6E22A2CBE7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2B7B9CE5-2E53-3FB3-B8ED-F7BA6ACEFC92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BB9D2D81-56E5-9F70-6BB3-DE62BD971F1A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E501444D-D284-35EC-D16F-C0B45FFDF2C9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A7A24CC9-E310-99E6-FFE8-50B9EA5EC389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D5B178A1-F94F-C32E-D0F0-94455788E047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C0A44C13-1764-A0DF-9B85-A93CFFCBCCE5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61A05C6C-8D8F-DF73-221B-55F63C954446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9DEF6777-7CAB-83BA-FCD1-EB7D17013696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E12821C8-189C-A644-ECB0-222893F2534A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B793CD9F-C9A4-7817-1E25-00840643A5A7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31C4FC94-AD8D-A46E-0120-4D1D7CA3E242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7E29A4C3-0AE9-5072-C9AE-EE94FB17E1E0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FB82D04A-470D-C564-5B35-FEC028292FC7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214A4AA6-2905-84E1-63F8-75387BE51E8E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71DCFFA3-885F-DEE5-0C01-8452B89EA92C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F59B9480-A2DB-8F7E-1AE7-4908CBC4A289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C6B6249E-6292-4D0A-BBF5-BC8BF5E50010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2BB30EBD-2D2B-2EB5-20C4-3507E0DE13F0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2FF32EB9-99C3-8EA5-7C49-34761269D923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D34FCB5E-8D27-23AA-2469-FCDA2A945FC2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0" name="Rectangle 34">
                <a:extLst>
                  <a:ext uri="{FF2B5EF4-FFF2-40B4-BE49-F238E27FC236}">
                    <a16:creationId xmlns:a16="http://schemas.microsoft.com/office/drawing/2014/main" id="{02C4B2CD-F80B-6DE2-49D1-4D696B4EFA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35">
                <a:extLst>
                  <a:ext uri="{FF2B5EF4-FFF2-40B4-BE49-F238E27FC236}">
                    <a16:creationId xmlns:a16="http://schemas.microsoft.com/office/drawing/2014/main" id="{1C2D87FB-377F-0AA8-E1C2-86A741F56C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6">
                <a:extLst>
                  <a:ext uri="{FF2B5EF4-FFF2-40B4-BE49-F238E27FC236}">
                    <a16:creationId xmlns:a16="http://schemas.microsoft.com/office/drawing/2014/main" id="{D82C6E96-54F4-16E1-5B6B-257C19D174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7">
                <a:extLst>
                  <a:ext uri="{FF2B5EF4-FFF2-40B4-BE49-F238E27FC236}">
                    <a16:creationId xmlns:a16="http://schemas.microsoft.com/office/drawing/2014/main" id="{B154261B-D1E4-5BA0-A69A-C8A49FBCFC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8">
                <a:extLst>
                  <a:ext uri="{FF2B5EF4-FFF2-40B4-BE49-F238E27FC236}">
                    <a16:creationId xmlns:a16="http://schemas.microsoft.com/office/drawing/2014/main" id="{6ADB9D66-4105-7AB9-C331-960EB2FE05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9">
                <a:extLst>
                  <a:ext uri="{FF2B5EF4-FFF2-40B4-BE49-F238E27FC236}">
                    <a16:creationId xmlns:a16="http://schemas.microsoft.com/office/drawing/2014/main" id="{6F14CB95-AB87-5F77-079C-4B00EDDB60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40">
                <a:extLst>
                  <a:ext uri="{FF2B5EF4-FFF2-40B4-BE49-F238E27FC236}">
                    <a16:creationId xmlns:a16="http://schemas.microsoft.com/office/drawing/2014/main" id="{5F3C6C3D-66DD-0CE7-DE1E-98E13DA933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1">
                <a:extLst>
                  <a:ext uri="{FF2B5EF4-FFF2-40B4-BE49-F238E27FC236}">
                    <a16:creationId xmlns:a16="http://schemas.microsoft.com/office/drawing/2014/main" id="{B8E3B77C-945A-0CCC-211C-D74FB0B3E7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2">
                <a:extLst>
                  <a:ext uri="{FF2B5EF4-FFF2-40B4-BE49-F238E27FC236}">
                    <a16:creationId xmlns:a16="http://schemas.microsoft.com/office/drawing/2014/main" id="{2605858E-786B-4BE5-D13C-64EA2E9934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3">
                <a:extLst>
                  <a:ext uri="{FF2B5EF4-FFF2-40B4-BE49-F238E27FC236}">
                    <a16:creationId xmlns:a16="http://schemas.microsoft.com/office/drawing/2014/main" id="{E0D6D449-6535-C48D-B4AB-C7C8691E38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4">
                <a:extLst>
                  <a:ext uri="{FF2B5EF4-FFF2-40B4-BE49-F238E27FC236}">
                    <a16:creationId xmlns:a16="http://schemas.microsoft.com/office/drawing/2014/main" id="{B3FD476F-5DAE-8C0C-4572-D344D831BC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8" name="Slide edges">
              <a:extLst>
                <a:ext uri="{FF2B5EF4-FFF2-40B4-BE49-F238E27FC236}">
                  <a16:creationId xmlns:a16="http://schemas.microsoft.com/office/drawing/2014/main" id="{D920BF43-DE29-0CA7-BEA3-DF0A4AB32E2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0" name="Footnote measure">
              <a:extLst>
                <a:ext uri="{FF2B5EF4-FFF2-40B4-BE49-F238E27FC236}">
                  <a16:creationId xmlns:a16="http://schemas.microsoft.com/office/drawing/2014/main" id="{A4B60BBC-7616-CAF3-357D-5A1C404C5E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787A05A1-3691-C8F2-9F60-7B9BF1E1EE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1F687EBA-0AEF-6E66-4D3D-EBEA0A7B7D50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" name="Rectangle 5">
                <a:extLst>
                  <a:ext uri="{FF2B5EF4-FFF2-40B4-BE49-F238E27FC236}">
                    <a16:creationId xmlns:a16="http://schemas.microsoft.com/office/drawing/2014/main" id="{2F17F1B9-4D89-AA56-C115-023AA61746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7">
                <a:extLst>
                  <a:ext uri="{FF2B5EF4-FFF2-40B4-BE49-F238E27FC236}">
                    <a16:creationId xmlns:a16="http://schemas.microsoft.com/office/drawing/2014/main" id="{92C5577F-A721-C1C8-C85D-5013DB8074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9">
                <a:extLst>
                  <a:ext uri="{FF2B5EF4-FFF2-40B4-BE49-F238E27FC236}">
                    <a16:creationId xmlns:a16="http://schemas.microsoft.com/office/drawing/2014/main" id="{0527EA41-6D9C-3683-19D8-FBD8A2757C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11">
                <a:extLst>
                  <a:ext uri="{FF2B5EF4-FFF2-40B4-BE49-F238E27FC236}">
                    <a16:creationId xmlns:a16="http://schemas.microsoft.com/office/drawing/2014/main" id="{D3E18789-2AC0-23B6-863A-3896EB2BAE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3">
                <a:extLst>
                  <a:ext uri="{FF2B5EF4-FFF2-40B4-BE49-F238E27FC236}">
                    <a16:creationId xmlns:a16="http://schemas.microsoft.com/office/drawing/2014/main" id="{099FA6EC-BDC8-59DE-4011-76B8F3D16D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3" name="Live area">
              <a:extLst>
                <a:ext uri="{FF2B5EF4-FFF2-40B4-BE49-F238E27FC236}">
                  <a16:creationId xmlns:a16="http://schemas.microsoft.com/office/drawing/2014/main" id="{A6973BBF-B57E-6E74-F1E3-B8254C4618E8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A4304E6A-275E-A1AB-7802-19ECDDE57F9C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2662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41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BF36981-056D-572E-4D4F-283D7BCBECAD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706DAE92-C9CD-BEA1-8E7B-94E23F72DF1C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F4012009-3864-0CD0-8919-8DFB3E20625A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4A6E98DE-868F-2E62-4A9B-D9CFA5079598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25EB0DAD-E6D1-E164-F90E-EB928A379299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763E1435-A62D-A753-3E3D-B0D66730D9A0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38C88576-6A7E-2151-413E-A3F690554DB2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C53CCEE1-62AA-1D14-930D-B130947C0407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B98C12FE-52FF-0869-0B3C-175A36D2543A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71C9CD45-0B43-C7AA-3088-F9B9D51FE69B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3CA55407-D4F1-DAE0-3068-28915D2DE38F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AAEA3F6A-934D-9D47-C9D0-C499AF8E4F3A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BF9470EF-E92F-7FFF-C146-FFB87BCBC243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B5B21977-87F8-DADC-53F8-480EF286905C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DF14D82A-04F3-C8E7-A0D4-B532DF38CA1A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195E2B6A-26E6-DE3D-6903-FADAE670101B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82A356F3-9B1E-73B4-79F8-E415D60BDB8E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FD820307-AB79-2A7E-738A-8B088B481219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1779D7EC-75DE-5A3D-E4A0-EBC26BC81034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E5D87AC4-6EB3-0D6B-A8D1-F1876859E2C3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CA8D6608-D458-890B-B028-61EA348F0074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3D8914F7-46E4-4605-0EA8-0538C5999935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83B877E5-5F40-D7E8-5E1A-1CBF112A51EA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0BE1C919-8FA5-272E-23E9-11D9324882D0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9" name="Rectangle 34">
                <a:extLst>
                  <a:ext uri="{FF2B5EF4-FFF2-40B4-BE49-F238E27FC236}">
                    <a16:creationId xmlns:a16="http://schemas.microsoft.com/office/drawing/2014/main" id="{F315B324-FCDB-B65B-EB02-ED838EEAE6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35">
                <a:extLst>
                  <a:ext uri="{FF2B5EF4-FFF2-40B4-BE49-F238E27FC236}">
                    <a16:creationId xmlns:a16="http://schemas.microsoft.com/office/drawing/2014/main" id="{04E91065-DD22-C2B0-B794-C83B553C87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36">
                <a:extLst>
                  <a:ext uri="{FF2B5EF4-FFF2-40B4-BE49-F238E27FC236}">
                    <a16:creationId xmlns:a16="http://schemas.microsoft.com/office/drawing/2014/main" id="{915D3721-D967-0861-A474-A319838013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7">
                <a:extLst>
                  <a:ext uri="{FF2B5EF4-FFF2-40B4-BE49-F238E27FC236}">
                    <a16:creationId xmlns:a16="http://schemas.microsoft.com/office/drawing/2014/main" id="{BE6226B2-ABC1-1B8C-E259-6D25D40B6C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8">
                <a:extLst>
                  <a:ext uri="{FF2B5EF4-FFF2-40B4-BE49-F238E27FC236}">
                    <a16:creationId xmlns:a16="http://schemas.microsoft.com/office/drawing/2014/main" id="{925B08FA-097F-C413-E63E-8B423A5791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9">
                <a:extLst>
                  <a:ext uri="{FF2B5EF4-FFF2-40B4-BE49-F238E27FC236}">
                    <a16:creationId xmlns:a16="http://schemas.microsoft.com/office/drawing/2014/main" id="{229D08A2-359B-A1EA-6C60-4F85F971E8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0">
                <a:extLst>
                  <a:ext uri="{FF2B5EF4-FFF2-40B4-BE49-F238E27FC236}">
                    <a16:creationId xmlns:a16="http://schemas.microsoft.com/office/drawing/2014/main" id="{C529B1E5-408E-FDC9-C841-AAF24F8129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1">
                <a:extLst>
                  <a:ext uri="{FF2B5EF4-FFF2-40B4-BE49-F238E27FC236}">
                    <a16:creationId xmlns:a16="http://schemas.microsoft.com/office/drawing/2014/main" id="{037ED484-B6CB-EC6E-CBA1-F428AE5A07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2">
                <a:extLst>
                  <a:ext uri="{FF2B5EF4-FFF2-40B4-BE49-F238E27FC236}">
                    <a16:creationId xmlns:a16="http://schemas.microsoft.com/office/drawing/2014/main" id="{561D290E-8AA3-7256-AC95-9DD8E31849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3">
                <a:extLst>
                  <a:ext uri="{FF2B5EF4-FFF2-40B4-BE49-F238E27FC236}">
                    <a16:creationId xmlns:a16="http://schemas.microsoft.com/office/drawing/2014/main" id="{FF00A38C-44EF-B970-44CF-D84808B2B0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4">
                <a:extLst>
                  <a:ext uri="{FF2B5EF4-FFF2-40B4-BE49-F238E27FC236}">
                    <a16:creationId xmlns:a16="http://schemas.microsoft.com/office/drawing/2014/main" id="{395A78D8-7CC3-7789-A440-BF66A5B999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C607E851-D53C-491F-B19F-BF4D797BD91A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" name="Footnote measure">
              <a:extLst>
                <a:ext uri="{FF2B5EF4-FFF2-40B4-BE49-F238E27FC236}">
                  <a16:creationId xmlns:a16="http://schemas.microsoft.com/office/drawing/2014/main" id="{939649F5-F560-981B-8342-E091EB6156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Whitespace measure">
              <a:extLst>
                <a:ext uri="{FF2B5EF4-FFF2-40B4-BE49-F238E27FC236}">
                  <a16:creationId xmlns:a16="http://schemas.microsoft.com/office/drawing/2014/main" id="{1A673E4E-4D25-6AE5-9A7A-8ADC9C0F37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Five column measure">
              <a:extLst>
                <a:ext uri="{FF2B5EF4-FFF2-40B4-BE49-F238E27FC236}">
                  <a16:creationId xmlns:a16="http://schemas.microsoft.com/office/drawing/2014/main" id="{81510447-BD2C-0514-4952-E127B4E35AC8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4" name="Rectangle 5">
                <a:extLst>
                  <a:ext uri="{FF2B5EF4-FFF2-40B4-BE49-F238E27FC236}">
                    <a16:creationId xmlns:a16="http://schemas.microsoft.com/office/drawing/2014/main" id="{E942AE41-D94B-7B46-F2EF-EAA30B1CD2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Rectangle 7">
                <a:extLst>
                  <a:ext uri="{FF2B5EF4-FFF2-40B4-BE49-F238E27FC236}">
                    <a16:creationId xmlns:a16="http://schemas.microsoft.com/office/drawing/2014/main" id="{185FD1F5-6025-F5E5-7719-5B22832AB1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9">
                <a:extLst>
                  <a:ext uri="{FF2B5EF4-FFF2-40B4-BE49-F238E27FC236}">
                    <a16:creationId xmlns:a16="http://schemas.microsoft.com/office/drawing/2014/main" id="{1A6F3640-4588-897F-1741-088F0C95B8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11">
                <a:extLst>
                  <a:ext uri="{FF2B5EF4-FFF2-40B4-BE49-F238E27FC236}">
                    <a16:creationId xmlns:a16="http://schemas.microsoft.com/office/drawing/2014/main" id="{6510E0A4-0BFF-896C-7598-C369CDDC3A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13">
                <a:extLst>
                  <a:ext uri="{FF2B5EF4-FFF2-40B4-BE49-F238E27FC236}">
                    <a16:creationId xmlns:a16="http://schemas.microsoft.com/office/drawing/2014/main" id="{7CBD1522-324D-50D0-B0AE-50346983EA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" name="Live area">
              <a:extLst>
                <a:ext uri="{FF2B5EF4-FFF2-40B4-BE49-F238E27FC236}">
                  <a16:creationId xmlns:a16="http://schemas.microsoft.com/office/drawing/2014/main" id="{E151D74C-11CF-8338-9024-BA32343CED78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3" name="Footnote example">
              <a:extLst>
                <a:ext uri="{FF2B5EF4-FFF2-40B4-BE49-F238E27FC236}">
                  <a16:creationId xmlns:a16="http://schemas.microsoft.com/office/drawing/2014/main" id="{244932D3-31E0-9DAB-F95B-A1D8AD399AE1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72962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43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05B6A3DE-AA58-D90B-D3DD-981250CFF5CC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F5ED160F-C5ED-740E-9FA3-E76CB77A00D7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64620D4A-BF12-8794-75CB-1AD9584A3BC6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7F353751-27B9-B345-9495-824AEAA22BE4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60209FF1-B8F2-E44A-B8C0-9D89C9CDB04B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00631B83-623E-9982-AD36-1E7588654E51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F5C63781-7281-F35F-A53D-E24E35218B23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0B1FC9F0-1D63-203F-BE3C-5139FF7FF32A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CF121897-0ECB-B432-B946-9DD8520620CC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05A467C5-1CC1-263A-6731-CAB2098FAECC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480F6AEA-AC18-E80C-B6C8-E0A5B8510ECE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CA9C74F9-B169-B905-0B8A-360E1B84B43A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2DB3E2D3-7D17-64D4-EE62-8A77241D6629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316930B3-43CA-0EF0-2382-FDDB2CE3BC4B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DA5C2480-564B-C2CC-2D97-D2814532DA9D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64FA197E-C694-69D0-ABDD-D6D2A9709FEC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9FB00092-7A93-A520-4AB4-9EEB11934F1B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C2C1245A-1B2F-3E71-1C89-9954B9241A3E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805AEAF0-25D9-D652-F249-F6F55676DEAA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61AC47DE-3307-7EAA-6BC7-F49019C68F64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2AE70329-B05C-AD32-C8BF-ABF5BB55343C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E95EE4C2-7E73-8527-EE1F-DEE202125A53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BAC23B7C-A8A8-78AA-9385-16B93C0AA41C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CEB7B37D-EEFB-AB3B-9594-9D9E90349F62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3" name="Rectangle 34">
                <a:extLst>
                  <a:ext uri="{FF2B5EF4-FFF2-40B4-BE49-F238E27FC236}">
                    <a16:creationId xmlns:a16="http://schemas.microsoft.com/office/drawing/2014/main" id="{A7343B50-741D-2961-5DF4-E0ECB31DD1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5">
                <a:extLst>
                  <a:ext uri="{FF2B5EF4-FFF2-40B4-BE49-F238E27FC236}">
                    <a16:creationId xmlns:a16="http://schemas.microsoft.com/office/drawing/2014/main" id="{967ABFA1-3800-4440-4D4C-FCD595A52C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6">
                <a:extLst>
                  <a:ext uri="{FF2B5EF4-FFF2-40B4-BE49-F238E27FC236}">
                    <a16:creationId xmlns:a16="http://schemas.microsoft.com/office/drawing/2014/main" id="{A477E035-C9BC-CD8F-E979-509E73F9A3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7">
                <a:extLst>
                  <a:ext uri="{FF2B5EF4-FFF2-40B4-BE49-F238E27FC236}">
                    <a16:creationId xmlns:a16="http://schemas.microsoft.com/office/drawing/2014/main" id="{68CD6ED5-05BC-6027-36C4-D169EDED0F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8">
                <a:extLst>
                  <a:ext uri="{FF2B5EF4-FFF2-40B4-BE49-F238E27FC236}">
                    <a16:creationId xmlns:a16="http://schemas.microsoft.com/office/drawing/2014/main" id="{D33A4C27-C57E-AE85-CD1F-D3448CD211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39">
                <a:extLst>
                  <a:ext uri="{FF2B5EF4-FFF2-40B4-BE49-F238E27FC236}">
                    <a16:creationId xmlns:a16="http://schemas.microsoft.com/office/drawing/2014/main" id="{95DED488-59CE-B776-CD1B-3AA197D3E1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0">
                <a:extLst>
                  <a:ext uri="{FF2B5EF4-FFF2-40B4-BE49-F238E27FC236}">
                    <a16:creationId xmlns:a16="http://schemas.microsoft.com/office/drawing/2014/main" id="{B493EE6B-0FDD-9208-E57A-3DA2A9F05A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1">
                <a:extLst>
                  <a:ext uri="{FF2B5EF4-FFF2-40B4-BE49-F238E27FC236}">
                    <a16:creationId xmlns:a16="http://schemas.microsoft.com/office/drawing/2014/main" id="{91E1CF84-8B87-35AA-733D-C59F3AAB4C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2">
                <a:extLst>
                  <a:ext uri="{FF2B5EF4-FFF2-40B4-BE49-F238E27FC236}">
                    <a16:creationId xmlns:a16="http://schemas.microsoft.com/office/drawing/2014/main" id="{8C26DD8A-681F-4DB4-49A8-AF8663732C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3">
                <a:extLst>
                  <a:ext uri="{FF2B5EF4-FFF2-40B4-BE49-F238E27FC236}">
                    <a16:creationId xmlns:a16="http://schemas.microsoft.com/office/drawing/2014/main" id="{C6D86204-C89B-6201-984B-D95C0E863D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44">
                <a:extLst>
                  <a:ext uri="{FF2B5EF4-FFF2-40B4-BE49-F238E27FC236}">
                    <a16:creationId xmlns:a16="http://schemas.microsoft.com/office/drawing/2014/main" id="{75557E2F-429D-E5C7-3020-0E1DD5FC62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ABA1A73D-94CB-5601-E2CB-E1EEA13F9157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" name="Footnote measure">
              <a:extLst>
                <a:ext uri="{FF2B5EF4-FFF2-40B4-BE49-F238E27FC236}">
                  <a16:creationId xmlns:a16="http://schemas.microsoft.com/office/drawing/2014/main" id="{9A13D854-F70A-417A-4CD0-9EB5AED542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Whitespace measure">
              <a:extLst>
                <a:ext uri="{FF2B5EF4-FFF2-40B4-BE49-F238E27FC236}">
                  <a16:creationId xmlns:a16="http://schemas.microsoft.com/office/drawing/2014/main" id="{04A4F644-019B-0FAF-2AE3-B568F2B920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Five column measure">
              <a:extLst>
                <a:ext uri="{FF2B5EF4-FFF2-40B4-BE49-F238E27FC236}">
                  <a16:creationId xmlns:a16="http://schemas.microsoft.com/office/drawing/2014/main" id="{3A737960-5A84-5CD7-FC9A-238D620E0DF3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" name="Rectangle 5">
                <a:extLst>
                  <a:ext uri="{FF2B5EF4-FFF2-40B4-BE49-F238E27FC236}">
                    <a16:creationId xmlns:a16="http://schemas.microsoft.com/office/drawing/2014/main" id="{3DC57308-E9F4-A0F5-6ACE-24C4E3E780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7">
                <a:extLst>
                  <a:ext uri="{FF2B5EF4-FFF2-40B4-BE49-F238E27FC236}">
                    <a16:creationId xmlns:a16="http://schemas.microsoft.com/office/drawing/2014/main" id="{64B2C000-D5FB-3682-41F9-9506F4B2C2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9">
                <a:extLst>
                  <a:ext uri="{FF2B5EF4-FFF2-40B4-BE49-F238E27FC236}">
                    <a16:creationId xmlns:a16="http://schemas.microsoft.com/office/drawing/2014/main" id="{08351EB6-C280-4511-F2B4-6AB0EAA798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1">
                <a:extLst>
                  <a:ext uri="{FF2B5EF4-FFF2-40B4-BE49-F238E27FC236}">
                    <a16:creationId xmlns:a16="http://schemas.microsoft.com/office/drawing/2014/main" id="{3C49592A-4DE6-0160-EB8C-12DCF72AA3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13">
                <a:extLst>
                  <a:ext uri="{FF2B5EF4-FFF2-40B4-BE49-F238E27FC236}">
                    <a16:creationId xmlns:a16="http://schemas.microsoft.com/office/drawing/2014/main" id="{BE66417D-6ED1-CCF6-7A47-A76F878F69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" name="Live area">
              <a:extLst>
                <a:ext uri="{FF2B5EF4-FFF2-40B4-BE49-F238E27FC236}">
                  <a16:creationId xmlns:a16="http://schemas.microsoft.com/office/drawing/2014/main" id="{E8C58589-B7AE-D32D-B914-2A79314706DB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2AA1175F-170B-E5CA-A896-6445A5E3E4D8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86290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46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3D5F40C-ED61-D6FA-7D6A-D256341477C4}"/>
              </a:ext>
            </a:extLst>
          </p:cNvPr>
          <p:cNvGrpSpPr/>
          <p:nvPr userDrawn="1">
            <p:custDataLst>
              <p:tags r:id="rId4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" name="No fly zone">
              <a:extLst>
                <a:ext uri="{FF2B5EF4-FFF2-40B4-BE49-F238E27FC236}">
                  <a16:creationId xmlns:a16="http://schemas.microsoft.com/office/drawing/2014/main" id="{EA3842CF-C1BF-26D5-0224-52BBDFA2921E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6" name="Baselines / anchors">
              <a:extLst>
                <a:ext uri="{FF2B5EF4-FFF2-40B4-BE49-F238E27FC236}">
                  <a16:creationId xmlns:a16="http://schemas.microsoft.com/office/drawing/2014/main" id="{4E16F030-0B16-2EC7-E8A6-DC7F17684C34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44C25E38-4FBA-FCDE-36B3-967D3799A1C8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870DB9B9-D4C3-7964-2C5B-7717B7AA4845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668BE830-CB12-0CB4-7F08-190DF5EE28DC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8F1684A3-A493-B242-399D-15FEE3B6FEF6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2FAAD908-0260-3288-A43C-89934129E981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ADE5C1D8-C788-2C85-133D-3071E96B5946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5C73B7E9-44CC-DD8B-FA90-661169C4F327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B6681EC7-DEAC-E69A-257D-BB47FEF5D6D9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93F48EEF-BA7F-4E26-EEC7-29F9AB215B22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5C04F411-CF4F-C3D1-40C2-06EC7E4BA0BE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A7F67BC6-C7F7-6EA9-67B2-C5C439415009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43E16170-CE1C-7265-4A66-B54282200133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DA77CDA9-8439-A719-2652-4BDEF584FC88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0391410E-EDBE-9DFC-A9C1-083AB6649D3C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EEC3FE11-9BDB-5CF9-B094-CACD8EE46721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7DEB145B-369C-6C60-F530-7DE9F6A7AC7C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47CF2BA8-E958-98C4-25FD-F09703BDC3D2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EDA45BE5-BE14-5E1D-C555-98BB734B151A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808D09F3-FFD1-F458-6229-AEE6523136AC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05F17AF6-E545-E41F-2B3B-05F3A1A31560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utter space">
              <a:extLst>
                <a:ext uri="{FF2B5EF4-FFF2-40B4-BE49-F238E27FC236}">
                  <a16:creationId xmlns:a16="http://schemas.microsoft.com/office/drawing/2014/main" id="{4EACEEAA-91C8-668A-984C-227B792A658D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3" name="Rectangle 34">
                <a:extLst>
                  <a:ext uri="{FF2B5EF4-FFF2-40B4-BE49-F238E27FC236}">
                    <a16:creationId xmlns:a16="http://schemas.microsoft.com/office/drawing/2014/main" id="{F15BBB7E-0900-4F0E-D977-BE2E49E5DC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5">
                <a:extLst>
                  <a:ext uri="{FF2B5EF4-FFF2-40B4-BE49-F238E27FC236}">
                    <a16:creationId xmlns:a16="http://schemas.microsoft.com/office/drawing/2014/main" id="{3D706D6B-47A4-58A9-B22B-6ADB91F7E8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6">
                <a:extLst>
                  <a:ext uri="{FF2B5EF4-FFF2-40B4-BE49-F238E27FC236}">
                    <a16:creationId xmlns:a16="http://schemas.microsoft.com/office/drawing/2014/main" id="{072E094F-71A2-F8EC-E2EC-D11BE48BFE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7">
                <a:extLst>
                  <a:ext uri="{FF2B5EF4-FFF2-40B4-BE49-F238E27FC236}">
                    <a16:creationId xmlns:a16="http://schemas.microsoft.com/office/drawing/2014/main" id="{6C3ACA23-45AF-653B-4CA3-B99DDD86762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8">
                <a:extLst>
                  <a:ext uri="{FF2B5EF4-FFF2-40B4-BE49-F238E27FC236}">
                    <a16:creationId xmlns:a16="http://schemas.microsoft.com/office/drawing/2014/main" id="{79F24650-0982-3BE5-D3C7-E0F35A35A7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39">
                <a:extLst>
                  <a:ext uri="{FF2B5EF4-FFF2-40B4-BE49-F238E27FC236}">
                    <a16:creationId xmlns:a16="http://schemas.microsoft.com/office/drawing/2014/main" id="{08895777-1E42-DAC1-8FDF-94DC9FDAE0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0">
                <a:extLst>
                  <a:ext uri="{FF2B5EF4-FFF2-40B4-BE49-F238E27FC236}">
                    <a16:creationId xmlns:a16="http://schemas.microsoft.com/office/drawing/2014/main" id="{3CA628A8-82F8-9D58-50C9-2F7F0DBAFE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1">
                <a:extLst>
                  <a:ext uri="{FF2B5EF4-FFF2-40B4-BE49-F238E27FC236}">
                    <a16:creationId xmlns:a16="http://schemas.microsoft.com/office/drawing/2014/main" id="{20A6B678-A5F7-8365-F819-EFDC3D95AC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2">
                <a:extLst>
                  <a:ext uri="{FF2B5EF4-FFF2-40B4-BE49-F238E27FC236}">
                    <a16:creationId xmlns:a16="http://schemas.microsoft.com/office/drawing/2014/main" id="{DDC362C4-51DA-1538-F1B6-CD2704DCC8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3">
                <a:extLst>
                  <a:ext uri="{FF2B5EF4-FFF2-40B4-BE49-F238E27FC236}">
                    <a16:creationId xmlns:a16="http://schemas.microsoft.com/office/drawing/2014/main" id="{4E8BF49E-B864-0243-A918-9D3D884D56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44">
                <a:extLst>
                  <a:ext uri="{FF2B5EF4-FFF2-40B4-BE49-F238E27FC236}">
                    <a16:creationId xmlns:a16="http://schemas.microsoft.com/office/drawing/2014/main" id="{FA1C2E28-F93C-4F63-9A95-1A400A43D8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9" name="Slide edges">
              <a:extLst>
                <a:ext uri="{FF2B5EF4-FFF2-40B4-BE49-F238E27FC236}">
                  <a16:creationId xmlns:a16="http://schemas.microsoft.com/office/drawing/2014/main" id="{7CFFE572-7D7E-96DB-8B0A-4DC7DC68D4A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3" name="Footnote measure">
              <a:extLst>
                <a:ext uri="{FF2B5EF4-FFF2-40B4-BE49-F238E27FC236}">
                  <a16:creationId xmlns:a16="http://schemas.microsoft.com/office/drawing/2014/main" id="{8FFD15C3-45B1-2930-EAB6-E69F87961E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Whitespace measure">
              <a:extLst>
                <a:ext uri="{FF2B5EF4-FFF2-40B4-BE49-F238E27FC236}">
                  <a16:creationId xmlns:a16="http://schemas.microsoft.com/office/drawing/2014/main" id="{AE283F6F-7967-8D87-1CD8-4968DB595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5" name="Five column measure">
              <a:extLst>
                <a:ext uri="{FF2B5EF4-FFF2-40B4-BE49-F238E27FC236}">
                  <a16:creationId xmlns:a16="http://schemas.microsoft.com/office/drawing/2014/main" id="{45D37D80-7AD4-0E6B-E7E9-A1DCBCEA3999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8" name="Rectangle 5">
                <a:extLst>
                  <a:ext uri="{FF2B5EF4-FFF2-40B4-BE49-F238E27FC236}">
                    <a16:creationId xmlns:a16="http://schemas.microsoft.com/office/drawing/2014/main" id="{D0EF1F48-4125-6FAB-1B38-256EE8E103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7">
                <a:extLst>
                  <a:ext uri="{FF2B5EF4-FFF2-40B4-BE49-F238E27FC236}">
                    <a16:creationId xmlns:a16="http://schemas.microsoft.com/office/drawing/2014/main" id="{D58BE185-2EF7-2713-B5C3-A228113C28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9">
                <a:extLst>
                  <a:ext uri="{FF2B5EF4-FFF2-40B4-BE49-F238E27FC236}">
                    <a16:creationId xmlns:a16="http://schemas.microsoft.com/office/drawing/2014/main" id="{38B32D7D-96FA-9467-05F1-005ED8D9C6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1">
                <a:extLst>
                  <a:ext uri="{FF2B5EF4-FFF2-40B4-BE49-F238E27FC236}">
                    <a16:creationId xmlns:a16="http://schemas.microsoft.com/office/drawing/2014/main" id="{ACE247FA-48A1-3952-9ECB-BD2FCD2446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13">
                <a:extLst>
                  <a:ext uri="{FF2B5EF4-FFF2-40B4-BE49-F238E27FC236}">
                    <a16:creationId xmlns:a16="http://schemas.microsoft.com/office/drawing/2014/main" id="{ACF86882-2D68-A062-B5F1-E12D4F2902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6" name="Live area">
              <a:extLst>
                <a:ext uri="{FF2B5EF4-FFF2-40B4-BE49-F238E27FC236}">
                  <a16:creationId xmlns:a16="http://schemas.microsoft.com/office/drawing/2014/main" id="{D80260AC-B19E-FD05-791C-06FADD451714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7" name="Footnote example">
              <a:extLst>
                <a:ext uri="{FF2B5EF4-FFF2-40B4-BE49-F238E27FC236}">
                  <a16:creationId xmlns:a16="http://schemas.microsoft.com/office/drawing/2014/main" id="{9260FFEC-5E54-8FA3-9847-D2A8059A3868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8657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4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619D73F-DA16-2B9C-B6B5-91688C84D146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07A15BDD-BF1A-BA82-14AA-DEEAC10B301E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7611777D-FE6D-3BDD-737C-6B97A4988F78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DED1CDED-94C4-D064-E425-BF2382547193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14CD60D6-509A-F651-8613-C436F29D00AC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B9A836CF-1C98-646A-502A-0B17AD183E2F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30EB1A1C-DE93-D161-06CC-C7CFAD19A892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B747CF86-5678-4B27-8A07-10C26DD9EEBF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EC34C587-5D73-5237-AD3F-261F8CED38D8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F0CC7E65-7313-4C0E-6854-1390EA49C213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7396F031-8AFE-2E80-C958-70E0A928A5C9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7B5CB949-7FDE-058D-6D84-1FDA83961490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8A885F55-4196-AE61-343C-3A0A0C57B428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E6C07E55-6BC0-90C7-7757-A6C1E86E8B27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A1119BFE-8E11-E021-F1BB-61D5C4B6A190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D73C9598-DC80-ACCB-9A86-1BCD91E8281C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104E31B4-3A75-78DE-3900-797B9A891EC4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B58ED909-98DD-C81F-0A2B-0125D693D6E7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E20F3AA8-B941-F167-5CAD-1F6F0ADE1BE0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A3A94335-DFB9-6F1B-00E4-F5AC3494A4EE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C2D443AE-F0E0-93F9-172C-72F124EA4585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95C23D8E-7136-C6A0-2FA6-0E1C13F00F9D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31C6AF24-445D-97A6-1A4B-459FCE2D6B65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14D1E129-E1A9-37E8-21B5-E50B1376EC7F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1" name="Rectangle 34">
                <a:extLst>
                  <a:ext uri="{FF2B5EF4-FFF2-40B4-BE49-F238E27FC236}">
                    <a16:creationId xmlns:a16="http://schemas.microsoft.com/office/drawing/2014/main" id="{578A31DD-917E-C53B-86B9-9530100B77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5">
                <a:extLst>
                  <a:ext uri="{FF2B5EF4-FFF2-40B4-BE49-F238E27FC236}">
                    <a16:creationId xmlns:a16="http://schemas.microsoft.com/office/drawing/2014/main" id="{DAA2DAB2-3EB4-4041-D653-D04880A5D1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6">
                <a:extLst>
                  <a:ext uri="{FF2B5EF4-FFF2-40B4-BE49-F238E27FC236}">
                    <a16:creationId xmlns:a16="http://schemas.microsoft.com/office/drawing/2014/main" id="{6F4AB3DA-16F1-2EF8-6B22-941334EA6D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7">
                <a:extLst>
                  <a:ext uri="{FF2B5EF4-FFF2-40B4-BE49-F238E27FC236}">
                    <a16:creationId xmlns:a16="http://schemas.microsoft.com/office/drawing/2014/main" id="{BC96AFB9-1870-D957-378C-BEA821FCF0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8">
                <a:extLst>
                  <a:ext uri="{FF2B5EF4-FFF2-40B4-BE49-F238E27FC236}">
                    <a16:creationId xmlns:a16="http://schemas.microsoft.com/office/drawing/2014/main" id="{84ABFDCA-5E87-690E-294A-DFC5FCE300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9">
                <a:extLst>
                  <a:ext uri="{FF2B5EF4-FFF2-40B4-BE49-F238E27FC236}">
                    <a16:creationId xmlns:a16="http://schemas.microsoft.com/office/drawing/2014/main" id="{8A602FEE-BA17-2A37-EDA3-E948BAE043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0">
                <a:extLst>
                  <a:ext uri="{FF2B5EF4-FFF2-40B4-BE49-F238E27FC236}">
                    <a16:creationId xmlns:a16="http://schemas.microsoft.com/office/drawing/2014/main" id="{6AF8ED74-BE25-0352-AD97-201E506069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1">
                <a:extLst>
                  <a:ext uri="{FF2B5EF4-FFF2-40B4-BE49-F238E27FC236}">
                    <a16:creationId xmlns:a16="http://schemas.microsoft.com/office/drawing/2014/main" id="{495BCAA6-B2F0-92B7-BD05-CC34876935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2">
                <a:extLst>
                  <a:ext uri="{FF2B5EF4-FFF2-40B4-BE49-F238E27FC236}">
                    <a16:creationId xmlns:a16="http://schemas.microsoft.com/office/drawing/2014/main" id="{5036B075-26FD-B45E-C013-9868238579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3">
                <a:extLst>
                  <a:ext uri="{FF2B5EF4-FFF2-40B4-BE49-F238E27FC236}">
                    <a16:creationId xmlns:a16="http://schemas.microsoft.com/office/drawing/2014/main" id="{541F932E-8617-7EBD-4765-CDF440472A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4">
                <a:extLst>
                  <a:ext uri="{FF2B5EF4-FFF2-40B4-BE49-F238E27FC236}">
                    <a16:creationId xmlns:a16="http://schemas.microsoft.com/office/drawing/2014/main" id="{82C630EE-69A0-69A1-7AE8-2CF1364800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8" name="Slide edges">
              <a:extLst>
                <a:ext uri="{FF2B5EF4-FFF2-40B4-BE49-F238E27FC236}">
                  <a16:creationId xmlns:a16="http://schemas.microsoft.com/office/drawing/2014/main" id="{C2067DFC-1F1D-65BC-4B55-98FE8DDDA69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:a16="http://schemas.microsoft.com/office/drawing/2014/main" id="{52F47901-6475-F7A1-0090-0092D33239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AD2D94F8-D3AC-461E-0CE0-A2198D4266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6CAC4F90-33B5-7210-0102-4D9C1EFD0D19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6" name="Rectangle 5">
                <a:extLst>
                  <a:ext uri="{FF2B5EF4-FFF2-40B4-BE49-F238E27FC236}">
                    <a16:creationId xmlns:a16="http://schemas.microsoft.com/office/drawing/2014/main" id="{C39EFDDA-52A2-7691-11D9-586132983B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7">
                <a:extLst>
                  <a:ext uri="{FF2B5EF4-FFF2-40B4-BE49-F238E27FC236}">
                    <a16:creationId xmlns:a16="http://schemas.microsoft.com/office/drawing/2014/main" id="{D66206CA-9FE5-B05E-52F5-6C8C3004B1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9">
                <a:extLst>
                  <a:ext uri="{FF2B5EF4-FFF2-40B4-BE49-F238E27FC236}">
                    <a16:creationId xmlns:a16="http://schemas.microsoft.com/office/drawing/2014/main" id="{D7AFBB1B-FE05-9205-E463-074553FBAF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1">
                <a:extLst>
                  <a:ext uri="{FF2B5EF4-FFF2-40B4-BE49-F238E27FC236}">
                    <a16:creationId xmlns:a16="http://schemas.microsoft.com/office/drawing/2014/main" id="{A9FA2B92-3938-F941-BB96-9DF2442F4D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3">
                <a:extLst>
                  <a:ext uri="{FF2B5EF4-FFF2-40B4-BE49-F238E27FC236}">
                    <a16:creationId xmlns:a16="http://schemas.microsoft.com/office/drawing/2014/main" id="{215CD7E1-37CE-BDF3-CE1F-B62B31DD7E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4" name="Live area">
              <a:extLst>
                <a:ext uri="{FF2B5EF4-FFF2-40B4-BE49-F238E27FC236}">
                  <a16:creationId xmlns:a16="http://schemas.microsoft.com/office/drawing/2014/main" id="{7FF3D0E4-69ED-BD14-0F36-0E201186B4E6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5" name="Footnote example">
              <a:extLst>
                <a:ext uri="{FF2B5EF4-FFF2-40B4-BE49-F238E27FC236}">
                  <a16:creationId xmlns:a16="http://schemas.microsoft.com/office/drawing/2014/main" id="{6B287FE8-BF24-1143-B14F-356F7C13D27D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51544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50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9ECE1EAA-B0F7-0AAE-3430-54BB820FD845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1F5B2417-9B7D-6FD2-AB39-52A39E6D1C0D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E6E66A79-F549-85F0-8D3A-E78847570FC4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9A18E979-69DE-68FC-374B-BC853AD21C3A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55D72228-BFDA-E62B-DCEC-18EB6FCB7BBA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894838C7-5DA6-CB84-5FD2-4AB67DC3B7B5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FFAAFE0B-9D01-5D70-9FAE-7ACCCC25D0B1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A3D82296-6590-B4C3-2B44-CDC5204802AE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AC772BA1-E3D3-1030-6517-A6956AD38185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18BA0C66-412E-7CE3-FB57-375F33D7BFA0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2649A75A-DF8A-7A0C-89BE-C801970C7803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74D6082F-6A25-63D1-985E-4493E898F132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0C12DE5F-0A65-33F7-7577-FC8D79BCC04D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242B41C5-C134-F2F5-D350-DF6A8B75AAE2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BC5EEC81-9589-587F-F75F-2792BD67BF1F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3139D555-109C-69AA-3123-BA18A75A79A2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E37E0B16-EE28-8459-CC23-CB7203248EC6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E69728D8-B7E8-33EB-6E4B-6B16B848BB38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1447217E-8C3F-5A8E-DD3D-3EA905448910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0E23FFAC-8064-DD5E-A666-C2F844652A58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9158646E-B4D1-8E95-38DA-81FA140AD3CC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B4EFBDBA-5D22-F6CB-80F1-5E7E11041C24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AD6D29A0-8D4A-6985-097D-74C45BD26F9E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E6B56E30-2BA6-E94D-C010-AC3659E74803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1" name="Rectangle 34">
                <a:extLst>
                  <a:ext uri="{FF2B5EF4-FFF2-40B4-BE49-F238E27FC236}">
                    <a16:creationId xmlns:a16="http://schemas.microsoft.com/office/drawing/2014/main" id="{7D23E408-9A28-070C-47BE-FFDE983CDB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5">
                <a:extLst>
                  <a:ext uri="{FF2B5EF4-FFF2-40B4-BE49-F238E27FC236}">
                    <a16:creationId xmlns:a16="http://schemas.microsoft.com/office/drawing/2014/main" id="{B3C9B62D-4FE8-C39E-4248-DF9749D183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6">
                <a:extLst>
                  <a:ext uri="{FF2B5EF4-FFF2-40B4-BE49-F238E27FC236}">
                    <a16:creationId xmlns:a16="http://schemas.microsoft.com/office/drawing/2014/main" id="{E1EC6B2B-BFEE-E243-6406-7706BEE3B8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7">
                <a:extLst>
                  <a:ext uri="{FF2B5EF4-FFF2-40B4-BE49-F238E27FC236}">
                    <a16:creationId xmlns:a16="http://schemas.microsoft.com/office/drawing/2014/main" id="{1657C747-10B4-4696-A524-D6BE1110BF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8">
                <a:extLst>
                  <a:ext uri="{FF2B5EF4-FFF2-40B4-BE49-F238E27FC236}">
                    <a16:creationId xmlns:a16="http://schemas.microsoft.com/office/drawing/2014/main" id="{48231C3E-3825-00D9-31A9-FBE1D86AF7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9">
                <a:extLst>
                  <a:ext uri="{FF2B5EF4-FFF2-40B4-BE49-F238E27FC236}">
                    <a16:creationId xmlns:a16="http://schemas.microsoft.com/office/drawing/2014/main" id="{9A28AA7C-6F59-B2E2-870A-C54E10B730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0">
                <a:extLst>
                  <a:ext uri="{FF2B5EF4-FFF2-40B4-BE49-F238E27FC236}">
                    <a16:creationId xmlns:a16="http://schemas.microsoft.com/office/drawing/2014/main" id="{5842E732-ECA6-2809-FCC2-5D1E4450CE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1">
                <a:extLst>
                  <a:ext uri="{FF2B5EF4-FFF2-40B4-BE49-F238E27FC236}">
                    <a16:creationId xmlns:a16="http://schemas.microsoft.com/office/drawing/2014/main" id="{ED313339-6AB1-A146-AE53-4E4E05F361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2">
                <a:extLst>
                  <a:ext uri="{FF2B5EF4-FFF2-40B4-BE49-F238E27FC236}">
                    <a16:creationId xmlns:a16="http://schemas.microsoft.com/office/drawing/2014/main" id="{4CF4F919-C9ED-262E-97B2-228AD6AF40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3">
                <a:extLst>
                  <a:ext uri="{FF2B5EF4-FFF2-40B4-BE49-F238E27FC236}">
                    <a16:creationId xmlns:a16="http://schemas.microsoft.com/office/drawing/2014/main" id="{412392AC-61E4-0010-D05F-A7318E4F78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4">
                <a:extLst>
                  <a:ext uri="{FF2B5EF4-FFF2-40B4-BE49-F238E27FC236}">
                    <a16:creationId xmlns:a16="http://schemas.microsoft.com/office/drawing/2014/main" id="{7D715F77-6977-0867-F3B3-034B25D2EC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8" name="Slide edges">
              <a:extLst>
                <a:ext uri="{FF2B5EF4-FFF2-40B4-BE49-F238E27FC236}">
                  <a16:creationId xmlns:a16="http://schemas.microsoft.com/office/drawing/2014/main" id="{7166CA0A-77F7-4B35-0173-E10197C390D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:a16="http://schemas.microsoft.com/office/drawing/2014/main" id="{6F2D8137-63FF-D385-8459-76FEDCAEF0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97778AD9-B11C-15F9-F284-ED9E6771FE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D6B4EE59-2B56-DABE-935B-2B6C49730A1C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6" name="Rectangle 5">
                <a:extLst>
                  <a:ext uri="{FF2B5EF4-FFF2-40B4-BE49-F238E27FC236}">
                    <a16:creationId xmlns:a16="http://schemas.microsoft.com/office/drawing/2014/main" id="{28F1EFB9-29CA-F305-D4EA-02AD7C2B1B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7">
                <a:extLst>
                  <a:ext uri="{FF2B5EF4-FFF2-40B4-BE49-F238E27FC236}">
                    <a16:creationId xmlns:a16="http://schemas.microsoft.com/office/drawing/2014/main" id="{23C558A4-E693-D782-87D9-8433F03B75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9">
                <a:extLst>
                  <a:ext uri="{FF2B5EF4-FFF2-40B4-BE49-F238E27FC236}">
                    <a16:creationId xmlns:a16="http://schemas.microsoft.com/office/drawing/2014/main" id="{3DD31AF9-0C27-8453-4DDA-063BBC9A29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1">
                <a:extLst>
                  <a:ext uri="{FF2B5EF4-FFF2-40B4-BE49-F238E27FC236}">
                    <a16:creationId xmlns:a16="http://schemas.microsoft.com/office/drawing/2014/main" id="{A8CAC832-D766-0071-E3AE-9A44960789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3">
                <a:extLst>
                  <a:ext uri="{FF2B5EF4-FFF2-40B4-BE49-F238E27FC236}">
                    <a16:creationId xmlns:a16="http://schemas.microsoft.com/office/drawing/2014/main" id="{5577CD3E-34AD-29DB-B383-C86C314F3F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4" name="Live area">
              <a:extLst>
                <a:ext uri="{FF2B5EF4-FFF2-40B4-BE49-F238E27FC236}">
                  <a16:creationId xmlns:a16="http://schemas.microsoft.com/office/drawing/2014/main" id="{54A7CE25-897A-01DB-5071-320D1E6977D9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5" name="Footnote example">
              <a:extLst>
                <a:ext uri="{FF2B5EF4-FFF2-40B4-BE49-F238E27FC236}">
                  <a16:creationId xmlns:a16="http://schemas.microsoft.com/office/drawing/2014/main" id="{21A24F32-7283-A698-8584-1A7211E75DEB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10584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8907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5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A5E648B-8B89-EACF-5088-AFC9A978CE5D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2CD03799-0E1C-7F2A-8BC7-8F341073A5CB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A5935F6B-6F54-066F-3DC7-03FB1B6F3700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31AEF94D-4319-9127-C72D-891390A39657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F2E75B09-5DF9-F30F-181E-7B8E8C2B1DB1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48C1592A-8668-8F32-E37D-557F23CEFC69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26C55AD0-5658-7282-67B9-8ABD6C9C1F6F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A9B66661-5482-0DAE-316B-15137FC10576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FFFD2408-87B1-DBE6-D66C-2BAA2C5AA31F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00F39229-3C26-33AC-AFAC-CE70447D1476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83554501-52A0-4D72-4981-3C2A222E9540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40786F0B-4422-8EF6-FE84-5D8AAE03D6A3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B49DC47A-78AE-7D26-2820-AC93FFB616E3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FA0AAC51-B84E-F5DF-9C4A-052325F51FFA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2E551E4C-DA54-2997-99BC-9739CA6938C8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D9BB4D2F-97FD-D308-99B9-89095DA9350C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58089621-2AD0-14D1-4D78-21C8DA6E18C2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92B64C60-8BD0-C082-AC0E-81AD4F5241FE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9AA069A2-0CDF-A7FC-563B-7EC4CE3F38E1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750FFE2D-37CA-B255-B1DB-F8000ADB4E2B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D40D5253-7B09-6059-DEBC-ED9B1748E1EE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7FC40966-CCB7-D55E-299B-A350227AB77C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5BD9D14D-C4D2-CB9A-883A-D8125C068758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B2D40012-37F9-DD9B-3BD1-061D9A073C5B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2" name="Rectangle 34">
                <a:extLst>
                  <a:ext uri="{FF2B5EF4-FFF2-40B4-BE49-F238E27FC236}">
                    <a16:creationId xmlns:a16="http://schemas.microsoft.com/office/drawing/2014/main" id="{A31F6F53-5DE7-423D-1703-616AA40485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5">
                <a:extLst>
                  <a:ext uri="{FF2B5EF4-FFF2-40B4-BE49-F238E27FC236}">
                    <a16:creationId xmlns:a16="http://schemas.microsoft.com/office/drawing/2014/main" id="{6EC63770-76D3-0077-CC91-EC77D0907D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6">
                <a:extLst>
                  <a:ext uri="{FF2B5EF4-FFF2-40B4-BE49-F238E27FC236}">
                    <a16:creationId xmlns:a16="http://schemas.microsoft.com/office/drawing/2014/main" id="{E796058C-52A2-CB68-DF35-B7D851B3B4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7">
                <a:extLst>
                  <a:ext uri="{FF2B5EF4-FFF2-40B4-BE49-F238E27FC236}">
                    <a16:creationId xmlns:a16="http://schemas.microsoft.com/office/drawing/2014/main" id="{ECAD38B1-B95F-4D75-D6A4-20F7B3A803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8">
                <a:extLst>
                  <a:ext uri="{FF2B5EF4-FFF2-40B4-BE49-F238E27FC236}">
                    <a16:creationId xmlns:a16="http://schemas.microsoft.com/office/drawing/2014/main" id="{ECEC2670-40D1-D702-EA36-0C7596DA6D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9">
                <a:extLst>
                  <a:ext uri="{FF2B5EF4-FFF2-40B4-BE49-F238E27FC236}">
                    <a16:creationId xmlns:a16="http://schemas.microsoft.com/office/drawing/2014/main" id="{CF9381FD-5519-24DD-1F29-A802343AF7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0">
                <a:extLst>
                  <a:ext uri="{FF2B5EF4-FFF2-40B4-BE49-F238E27FC236}">
                    <a16:creationId xmlns:a16="http://schemas.microsoft.com/office/drawing/2014/main" id="{371D8E59-74EA-A416-95EC-1485827D23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1">
                <a:extLst>
                  <a:ext uri="{FF2B5EF4-FFF2-40B4-BE49-F238E27FC236}">
                    <a16:creationId xmlns:a16="http://schemas.microsoft.com/office/drawing/2014/main" id="{B478C995-D1C7-374B-5B7E-31441B5DB1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2">
                <a:extLst>
                  <a:ext uri="{FF2B5EF4-FFF2-40B4-BE49-F238E27FC236}">
                    <a16:creationId xmlns:a16="http://schemas.microsoft.com/office/drawing/2014/main" id="{289C7F5D-0E35-CCBD-D002-8EC9983B32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3">
                <a:extLst>
                  <a:ext uri="{FF2B5EF4-FFF2-40B4-BE49-F238E27FC236}">
                    <a16:creationId xmlns:a16="http://schemas.microsoft.com/office/drawing/2014/main" id="{C9A23F18-A1B7-9D8C-BFFF-690067C574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4">
                <a:extLst>
                  <a:ext uri="{FF2B5EF4-FFF2-40B4-BE49-F238E27FC236}">
                    <a16:creationId xmlns:a16="http://schemas.microsoft.com/office/drawing/2014/main" id="{5C325DBB-5C01-6029-810E-76B0E4BE64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C270DAA0-0D7E-ABBF-4E0B-BAD5C6531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" name="Footnote measure">
              <a:extLst>
                <a:ext uri="{FF2B5EF4-FFF2-40B4-BE49-F238E27FC236}">
                  <a16:creationId xmlns:a16="http://schemas.microsoft.com/office/drawing/2014/main" id="{7B787A4C-86AD-8E6C-1271-EE04B8B235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Whitespace measure">
              <a:extLst>
                <a:ext uri="{FF2B5EF4-FFF2-40B4-BE49-F238E27FC236}">
                  <a16:creationId xmlns:a16="http://schemas.microsoft.com/office/drawing/2014/main" id="{28F8BFF9-4166-FABB-30E0-46976EA15F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Five column measure">
              <a:extLst>
                <a:ext uri="{FF2B5EF4-FFF2-40B4-BE49-F238E27FC236}">
                  <a16:creationId xmlns:a16="http://schemas.microsoft.com/office/drawing/2014/main" id="{2B63FB0A-8CEC-5272-BACD-9FF7B5E8EBAB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6" name="Rectangle 5">
                <a:extLst>
                  <a:ext uri="{FF2B5EF4-FFF2-40B4-BE49-F238E27FC236}">
                    <a16:creationId xmlns:a16="http://schemas.microsoft.com/office/drawing/2014/main" id="{4F9F322B-4623-F2FF-0E68-7B0EE99537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7">
                <a:extLst>
                  <a:ext uri="{FF2B5EF4-FFF2-40B4-BE49-F238E27FC236}">
                    <a16:creationId xmlns:a16="http://schemas.microsoft.com/office/drawing/2014/main" id="{E9934485-904B-EB4A-AED0-B70D1193EC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9">
                <a:extLst>
                  <a:ext uri="{FF2B5EF4-FFF2-40B4-BE49-F238E27FC236}">
                    <a16:creationId xmlns:a16="http://schemas.microsoft.com/office/drawing/2014/main" id="{D8E6B785-183B-C2DC-F882-34ACB576CF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1">
                <a:extLst>
                  <a:ext uri="{FF2B5EF4-FFF2-40B4-BE49-F238E27FC236}">
                    <a16:creationId xmlns:a16="http://schemas.microsoft.com/office/drawing/2014/main" id="{C325797C-DB4C-4BD8-6E22-DCBA618993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3">
                <a:extLst>
                  <a:ext uri="{FF2B5EF4-FFF2-40B4-BE49-F238E27FC236}">
                    <a16:creationId xmlns:a16="http://schemas.microsoft.com/office/drawing/2014/main" id="{DBBFAF40-64C2-A125-F830-0D5926AC81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" name="Live area">
              <a:extLst>
                <a:ext uri="{FF2B5EF4-FFF2-40B4-BE49-F238E27FC236}">
                  <a16:creationId xmlns:a16="http://schemas.microsoft.com/office/drawing/2014/main" id="{6E9EB3CA-ABAF-8C7B-FD99-01AECA30A4A9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487C15C9-9B92-88A0-3D7E-6042E99AE846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7379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55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/>
              <a:t>Agenda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431FD7F-9834-7491-C04A-548587D590BA}"/>
              </a:ext>
            </a:extLst>
          </p:cNvPr>
          <p:cNvGrpSpPr/>
          <p:nvPr userDrawn="1">
            <p:custDataLst>
              <p:tags r:id="rId4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49B39895-9397-595C-2820-FB5368A4D18E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91034186-4D8B-4999-400D-09095F7E7F1C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B1A1B5BD-6BE8-F066-379A-204C386949E7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9161DE51-8BAF-F4B0-E5F8-669ACCA61109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402942D3-EAD0-0701-DA36-4989567C1F16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C52DF845-584B-4F95-667C-FB1A38D01764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22C2A940-35A7-67E9-2EA3-8F08D26CC2D0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EA302ED8-2634-D0C9-149A-A6DE633B5107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F0C21D84-B689-3D5E-ED41-AE784A455024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3883EA1C-198E-60C2-5FA8-C9EEA4F0B82D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2130FA00-033C-2DF7-B57D-267B8E61915E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B77EEA36-C0AE-5F04-44CA-30EE02861356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D6D43854-6143-53FF-2F56-8ACC0E39C906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CF46FEF2-9D58-557B-1B7A-F149A0B05B4C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E178DF1B-C2EC-BA14-FC8F-FE808C9EB736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BEB6454C-E355-824F-0405-61A264586CBC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B5E8EBB3-AA39-4126-7D67-57BCA69AE6F3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9F307C5A-8FAD-6BE0-EB57-EA7F49333D10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94C380CC-26A6-C0B7-26E7-61D7158F4106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A3BD84C6-A018-1960-0D9A-37C4D5DCE040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B9E8778D-47AE-C0B5-7E11-4898462BB7B0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FFEAAA73-A5AA-4005-3293-967F69AE7F46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E903ECB3-BBAA-8602-2C7A-786D8F26AE58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2" name="Rectangle 34">
                <a:extLst>
                  <a:ext uri="{FF2B5EF4-FFF2-40B4-BE49-F238E27FC236}">
                    <a16:creationId xmlns:a16="http://schemas.microsoft.com/office/drawing/2014/main" id="{2839FFEE-E54E-6EB9-AC00-FE80E635F9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5">
                <a:extLst>
                  <a:ext uri="{FF2B5EF4-FFF2-40B4-BE49-F238E27FC236}">
                    <a16:creationId xmlns:a16="http://schemas.microsoft.com/office/drawing/2014/main" id="{F64073E1-7378-EC64-E0B1-81257A8D0D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6">
                <a:extLst>
                  <a:ext uri="{FF2B5EF4-FFF2-40B4-BE49-F238E27FC236}">
                    <a16:creationId xmlns:a16="http://schemas.microsoft.com/office/drawing/2014/main" id="{C4CA410C-FF1D-BEA9-CAB7-D2BB9733FE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7">
                <a:extLst>
                  <a:ext uri="{FF2B5EF4-FFF2-40B4-BE49-F238E27FC236}">
                    <a16:creationId xmlns:a16="http://schemas.microsoft.com/office/drawing/2014/main" id="{83199E67-A29F-CED6-9C41-C927F5CEDF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8">
                <a:extLst>
                  <a:ext uri="{FF2B5EF4-FFF2-40B4-BE49-F238E27FC236}">
                    <a16:creationId xmlns:a16="http://schemas.microsoft.com/office/drawing/2014/main" id="{5C3F8703-AE2F-E9D2-EA12-096D6E27AB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9">
                <a:extLst>
                  <a:ext uri="{FF2B5EF4-FFF2-40B4-BE49-F238E27FC236}">
                    <a16:creationId xmlns:a16="http://schemas.microsoft.com/office/drawing/2014/main" id="{187F41A3-0323-E25A-C614-E205E89F18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0">
                <a:extLst>
                  <a:ext uri="{FF2B5EF4-FFF2-40B4-BE49-F238E27FC236}">
                    <a16:creationId xmlns:a16="http://schemas.microsoft.com/office/drawing/2014/main" id="{C822EAB2-27C5-05ED-8C5A-710FDC02C2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1">
                <a:extLst>
                  <a:ext uri="{FF2B5EF4-FFF2-40B4-BE49-F238E27FC236}">
                    <a16:creationId xmlns:a16="http://schemas.microsoft.com/office/drawing/2014/main" id="{0038416F-06B5-0A04-8FDF-4541B44EA8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2">
                <a:extLst>
                  <a:ext uri="{FF2B5EF4-FFF2-40B4-BE49-F238E27FC236}">
                    <a16:creationId xmlns:a16="http://schemas.microsoft.com/office/drawing/2014/main" id="{93688F7F-5F2F-F55F-6056-6E5EB2792D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3">
                <a:extLst>
                  <a:ext uri="{FF2B5EF4-FFF2-40B4-BE49-F238E27FC236}">
                    <a16:creationId xmlns:a16="http://schemas.microsoft.com/office/drawing/2014/main" id="{354F8EB7-AF86-EE81-652F-187BB3E04B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4">
                <a:extLst>
                  <a:ext uri="{FF2B5EF4-FFF2-40B4-BE49-F238E27FC236}">
                    <a16:creationId xmlns:a16="http://schemas.microsoft.com/office/drawing/2014/main" id="{22F22681-75BD-4371-1FBA-B9E062805B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BAE755AB-A53D-3CB7-113E-691D4FA61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2" name="Footnote measure">
              <a:extLst>
                <a:ext uri="{FF2B5EF4-FFF2-40B4-BE49-F238E27FC236}">
                  <a16:creationId xmlns:a16="http://schemas.microsoft.com/office/drawing/2014/main" id="{EA28CAE2-E2F5-EF14-CF1D-621C8E802E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Whitespace measure">
              <a:extLst>
                <a:ext uri="{FF2B5EF4-FFF2-40B4-BE49-F238E27FC236}">
                  <a16:creationId xmlns:a16="http://schemas.microsoft.com/office/drawing/2014/main" id="{631006A7-7114-C0E0-9AC0-A38B89FB78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4" name="Five column measure">
              <a:extLst>
                <a:ext uri="{FF2B5EF4-FFF2-40B4-BE49-F238E27FC236}">
                  <a16:creationId xmlns:a16="http://schemas.microsoft.com/office/drawing/2014/main" id="{574AA60B-FB50-24F9-3701-B86C5AB7EF30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7" name="Rectangle 5">
                <a:extLst>
                  <a:ext uri="{FF2B5EF4-FFF2-40B4-BE49-F238E27FC236}">
                    <a16:creationId xmlns:a16="http://schemas.microsoft.com/office/drawing/2014/main" id="{4263BB75-A88B-0C0B-B720-8A52E97F5B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7">
                <a:extLst>
                  <a:ext uri="{FF2B5EF4-FFF2-40B4-BE49-F238E27FC236}">
                    <a16:creationId xmlns:a16="http://schemas.microsoft.com/office/drawing/2014/main" id="{524256E5-557D-38B7-422D-91F199CF81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9">
                <a:extLst>
                  <a:ext uri="{FF2B5EF4-FFF2-40B4-BE49-F238E27FC236}">
                    <a16:creationId xmlns:a16="http://schemas.microsoft.com/office/drawing/2014/main" id="{36F97688-768F-9D42-8685-1EE17C769B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1">
                <a:extLst>
                  <a:ext uri="{FF2B5EF4-FFF2-40B4-BE49-F238E27FC236}">
                    <a16:creationId xmlns:a16="http://schemas.microsoft.com/office/drawing/2014/main" id="{9D50FA9F-8564-BA76-1457-00360C3C5D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3">
                <a:extLst>
                  <a:ext uri="{FF2B5EF4-FFF2-40B4-BE49-F238E27FC236}">
                    <a16:creationId xmlns:a16="http://schemas.microsoft.com/office/drawing/2014/main" id="{CAF146F4-6F2F-F527-E679-0C6BA5C69F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5" name="Live area">
              <a:extLst>
                <a:ext uri="{FF2B5EF4-FFF2-40B4-BE49-F238E27FC236}">
                  <a16:creationId xmlns:a16="http://schemas.microsoft.com/office/drawing/2014/main" id="{0E6A5722-9499-EE8A-C3E1-AF9A25FEA9E0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6" name="Footnote example">
              <a:extLst>
                <a:ext uri="{FF2B5EF4-FFF2-40B4-BE49-F238E27FC236}">
                  <a16:creationId xmlns:a16="http://schemas.microsoft.com/office/drawing/2014/main" id="{3BC3A75E-09EA-A041-7D93-5209E5EE3DBA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90104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5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488628E-9E0D-2791-DD9D-25A6B392C860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8390E4AA-566B-8668-F933-510183C8B0DD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27061812-EADB-AEA7-EE71-F93C6A8824FB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5C2B0180-C113-226A-0701-098004416BE3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1ABA7BE9-C5CA-2A97-AAE2-8A1A1008221A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25D5F45A-5DF3-F155-8504-38DD418D523C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67AB3DC4-55E1-D80B-12D3-7638627E09CC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2076B521-0AA6-665A-C6C8-9F4957FF8875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E8A17AC5-F700-9AC6-5036-F8887A31BF26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9A5A1020-9732-6010-736F-BCB43445DED5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2B877061-8357-CA84-ABC0-308D56A7B522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563B14E6-2F1B-7719-39A4-4084D218E37A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EF44065F-63E2-51FE-8128-0A28C67F21AC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09032F50-A65F-99EE-357D-001D5A102670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5D981B41-C535-9E55-683B-12D744B5A497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DE59772E-C3B6-3CEB-8BDC-994336D099EB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7CDB987B-44C7-397E-4D6F-DF417B6936BA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DEBD349F-CC3E-8CFB-8359-AF08221255E6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4E1336DA-D568-8ACA-05DD-056C9003E8FE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C9C296CC-8B67-64BA-BBC2-17750FD9608E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624D2B6A-3AC2-17C1-C70D-1F750A994D22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377FCF77-ADA6-DE26-2CC2-376C92955952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4638AD81-4D48-3442-AB6B-E3DD4CD68D9D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B0558E0D-065D-A787-A055-3F3417EF3876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0" name="Rectangle 34">
                <a:extLst>
                  <a:ext uri="{FF2B5EF4-FFF2-40B4-BE49-F238E27FC236}">
                    <a16:creationId xmlns:a16="http://schemas.microsoft.com/office/drawing/2014/main" id="{AF4585C4-FC6F-EC81-6344-9F30937B59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35">
                <a:extLst>
                  <a:ext uri="{FF2B5EF4-FFF2-40B4-BE49-F238E27FC236}">
                    <a16:creationId xmlns:a16="http://schemas.microsoft.com/office/drawing/2014/main" id="{6FC44A66-3CFD-8BB3-FA54-6A91D78FC7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6">
                <a:extLst>
                  <a:ext uri="{FF2B5EF4-FFF2-40B4-BE49-F238E27FC236}">
                    <a16:creationId xmlns:a16="http://schemas.microsoft.com/office/drawing/2014/main" id="{D01CE268-E1E6-981F-5E80-0982652308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7">
                <a:extLst>
                  <a:ext uri="{FF2B5EF4-FFF2-40B4-BE49-F238E27FC236}">
                    <a16:creationId xmlns:a16="http://schemas.microsoft.com/office/drawing/2014/main" id="{B843CC5F-39E8-7BF3-682A-C4DF464371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8">
                <a:extLst>
                  <a:ext uri="{FF2B5EF4-FFF2-40B4-BE49-F238E27FC236}">
                    <a16:creationId xmlns:a16="http://schemas.microsoft.com/office/drawing/2014/main" id="{0F505366-89EA-249E-C104-6FD1A75949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9">
                <a:extLst>
                  <a:ext uri="{FF2B5EF4-FFF2-40B4-BE49-F238E27FC236}">
                    <a16:creationId xmlns:a16="http://schemas.microsoft.com/office/drawing/2014/main" id="{34A46998-5A69-EA75-038A-C055B8BB69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40">
                <a:extLst>
                  <a:ext uri="{FF2B5EF4-FFF2-40B4-BE49-F238E27FC236}">
                    <a16:creationId xmlns:a16="http://schemas.microsoft.com/office/drawing/2014/main" id="{BC44E88E-B553-6420-850F-0014451DA9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1">
                <a:extLst>
                  <a:ext uri="{FF2B5EF4-FFF2-40B4-BE49-F238E27FC236}">
                    <a16:creationId xmlns:a16="http://schemas.microsoft.com/office/drawing/2014/main" id="{D578DE77-F8E1-E57E-7E5B-79110572BC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2">
                <a:extLst>
                  <a:ext uri="{FF2B5EF4-FFF2-40B4-BE49-F238E27FC236}">
                    <a16:creationId xmlns:a16="http://schemas.microsoft.com/office/drawing/2014/main" id="{C5AB71E6-BC1B-4D14-87E3-8F7065E12D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3">
                <a:extLst>
                  <a:ext uri="{FF2B5EF4-FFF2-40B4-BE49-F238E27FC236}">
                    <a16:creationId xmlns:a16="http://schemas.microsoft.com/office/drawing/2014/main" id="{15674C48-8D5A-8556-2FF1-16EA53FD89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4">
                <a:extLst>
                  <a:ext uri="{FF2B5EF4-FFF2-40B4-BE49-F238E27FC236}">
                    <a16:creationId xmlns:a16="http://schemas.microsoft.com/office/drawing/2014/main" id="{90446AC6-5FC7-FACF-CA2D-B3567E96FB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73DAB3D8-E26E-6596-EAB4-023112662B9E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:a16="http://schemas.microsoft.com/office/drawing/2014/main" id="{CE7EED1B-9A5B-C7C2-3F06-E477ADDB65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74603621-9279-D8DF-9AF3-5D0F34E55A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D4FF0087-F0A2-04AD-DB9D-62864DEF7699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" name="Rectangle 5">
                <a:extLst>
                  <a:ext uri="{FF2B5EF4-FFF2-40B4-BE49-F238E27FC236}">
                    <a16:creationId xmlns:a16="http://schemas.microsoft.com/office/drawing/2014/main" id="{2D65DA31-87C9-6833-00F0-1D775F267D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7">
                <a:extLst>
                  <a:ext uri="{FF2B5EF4-FFF2-40B4-BE49-F238E27FC236}">
                    <a16:creationId xmlns:a16="http://schemas.microsoft.com/office/drawing/2014/main" id="{25C27F97-8925-18FC-4E63-7DDB38BE50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9">
                <a:extLst>
                  <a:ext uri="{FF2B5EF4-FFF2-40B4-BE49-F238E27FC236}">
                    <a16:creationId xmlns:a16="http://schemas.microsoft.com/office/drawing/2014/main" id="{55EB30F7-1230-50FE-6FBB-40D66CC6B7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11">
                <a:extLst>
                  <a:ext uri="{FF2B5EF4-FFF2-40B4-BE49-F238E27FC236}">
                    <a16:creationId xmlns:a16="http://schemas.microsoft.com/office/drawing/2014/main" id="{C72C9561-F043-390C-398A-3717207F57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3">
                <a:extLst>
                  <a:ext uri="{FF2B5EF4-FFF2-40B4-BE49-F238E27FC236}">
                    <a16:creationId xmlns:a16="http://schemas.microsoft.com/office/drawing/2014/main" id="{665BC7DC-119A-1462-6253-CF6090E758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3" name="Live area">
              <a:extLst>
                <a:ext uri="{FF2B5EF4-FFF2-40B4-BE49-F238E27FC236}">
                  <a16:creationId xmlns:a16="http://schemas.microsoft.com/office/drawing/2014/main" id="{174D5040-D9AB-26CF-54C9-EA1690FB4623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AB98436C-DE01-E249-18F1-5406CC162499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58893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6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3B902D93-4FBB-9A8B-EC60-7EDC59A9C095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1BA19D3F-9D27-6E52-84C8-B3E3D2441B51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BE9297C4-DB75-99CC-4D15-BB8B80FCB376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7D29E59-05B4-562E-1262-DCC33C1FFBA5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C74751CE-D056-C512-54D0-35ED4EF91F66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6355A479-E48F-FBF9-50C3-D40FA73D88BC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1FC773A3-B8AD-167E-BB1B-AE1AD91BDCE2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CD064AC6-8043-052C-AABB-85A563AB9FB0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734ECC27-0F65-E2B6-F448-3BA1281A93C5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11A2AA5D-8C0F-AD72-BDA4-6E44BBFE20D4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619E6A80-BFC8-0682-96FF-BFD27E1D5E62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AFFDD3DA-7168-D227-7294-029094E38EE4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E46CB2E1-070B-DBB6-CF54-0DB579D2F46B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29F71137-5B96-6FA4-F32C-CFA6EBEA4FC9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81F273DB-A90D-D3B4-338F-D670296D9031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C938B323-8D84-BB26-97F3-E96FB8FC978E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CCFF0FE8-E671-C6A1-455C-F45D5E625AC9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95767370-C107-8CBC-954E-18A62CB8424B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375E5B57-9E3E-6234-6C61-BA1580D94116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678BD004-D1CA-DD6F-5B03-C59818002846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987FD7BE-BA1C-AA30-2E12-0E96626512E6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86CAD463-60F1-370C-6D60-CA1A6C2E2BB5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8F8CEE7B-150C-3C98-E796-9B5974E9C0F9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CC215CFA-82CB-7FC5-F46D-473BAF80E093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0" name="Rectangle 34">
                <a:extLst>
                  <a:ext uri="{FF2B5EF4-FFF2-40B4-BE49-F238E27FC236}">
                    <a16:creationId xmlns:a16="http://schemas.microsoft.com/office/drawing/2014/main" id="{7337900D-686C-1BAD-F168-A752CA5B38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35">
                <a:extLst>
                  <a:ext uri="{FF2B5EF4-FFF2-40B4-BE49-F238E27FC236}">
                    <a16:creationId xmlns:a16="http://schemas.microsoft.com/office/drawing/2014/main" id="{9DB0A251-23A9-7390-BCDB-C81B3F8E35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6">
                <a:extLst>
                  <a:ext uri="{FF2B5EF4-FFF2-40B4-BE49-F238E27FC236}">
                    <a16:creationId xmlns:a16="http://schemas.microsoft.com/office/drawing/2014/main" id="{2E23A128-2946-69C8-DA3A-3888D3FC56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7">
                <a:extLst>
                  <a:ext uri="{FF2B5EF4-FFF2-40B4-BE49-F238E27FC236}">
                    <a16:creationId xmlns:a16="http://schemas.microsoft.com/office/drawing/2014/main" id="{50033160-BCC3-2679-82CC-C6D540DA23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8">
                <a:extLst>
                  <a:ext uri="{FF2B5EF4-FFF2-40B4-BE49-F238E27FC236}">
                    <a16:creationId xmlns:a16="http://schemas.microsoft.com/office/drawing/2014/main" id="{7D311F88-AAD4-7ABF-D181-19B2D0FF0B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9">
                <a:extLst>
                  <a:ext uri="{FF2B5EF4-FFF2-40B4-BE49-F238E27FC236}">
                    <a16:creationId xmlns:a16="http://schemas.microsoft.com/office/drawing/2014/main" id="{C4929549-9A10-C2F1-03D7-A172B5A2C7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40">
                <a:extLst>
                  <a:ext uri="{FF2B5EF4-FFF2-40B4-BE49-F238E27FC236}">
                    <a16:creationId xmlns:a16="http://schemas.microsoft.com/office/drawing/2014/main" id="{71342676-3463-C23E-C140-8739E47854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1">
                <a:extLst>
                  <a:ext uri="{FF2B5EF4-FFF2-40B4-BE49-F238E27FC236}">
                    <a16:creationId xmlns:a16="http://schemas.microsoft.com/office/drawing/2014/main" id="{1432C399-F481-406D-B0F5-88558176C4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2">
                <a:extLst>
                  <a:ext uri="{FF2B5EF4-FFF2-40B4-BE49-F238E27FC236}">
                    <a16:creationId xmlns:a16="http://schemas.microsoft.com/office/drawing/2014/main" id="{F9E7D9FC-D80B-CD37-A3C1-F7122F82CB2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3">
                <a:extLst>
                  <a:ext uri="{FF2B5EF4-FFF2-40B4-BE49-F238E27FC236}">
                    <a16:creationId xmlns:a16="http://schemas.microsoft.com/office/drawing/2014/main" id="{56FB6F77-CA9D-ED20-968C-34FD639BFB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4">
                <a:extLst>
                  <a:ext uri="{FF2B5EF4-FFF2-40B4-BE49-F238E27FC236}">
                    <a16:creationId xmlns:a16="http://schemas.microsoft.com/office/drawing/2014/main" id="{AAB7B63F-D372-136E-78A6-875A9C7DE4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8" name="Slide edges">
              <a:extLst>
                <a:ext uri="{FF2B5EF4-FFF2-40B4-BE49-F238E27FC236}">
                  <a16:creationId xmlns:a16="http://schemas.microsoft.com/office/drawing/2014/main" id="{F0D0AD38-8B7C-1C16-70A1-8B7435304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0" name="Footnote measure">
              <a:extLst>
                <a:ext uri="{FF2B5EF4-FFF2-40B4-BE49-F238E27FC236}">
                  <a16:creationId xmlns:a16="http://schemas.microsoft.com/office/drawing/2014/main" id="{901990A9-575F-AD8C-9A01-61C5C80969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FD920048-8A37-1045-5FBB-A6B6CD1F0D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C1017BCE-5830-052C-1521-0C4D09CA1823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" name="Rectangle 5">
                <a:extLst>
                  <a:ext uri="{FF2B5EF4-FFF2-40B4-BE49-F238E27FC236}">
                    <a16:creationId xmlns:a16="http://schemas.microsoft.com/office/drawing/2014/main" id="{5FAEBDF0-9B4C-2690-4D8A-FC387635B9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7">
                <a:extLst>
                  <a:ext uri="{FF2B5EF4-FFF2-40B4-BE49-F238E27FC236}">
                    <a16:creationId xmlns:a16="http://schemas.microsoft.com/office/drawing/2014/main" id="{4DFCE8DD-D86F-A50C-3A51-E5A82582E2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9">
                <a:extLst>
                  <a:ext uri="{FF2B5EF4-FFF2-40B4-BE49-F238E27FC236}">
                    <a16:creationId xmlns:a16="http://schemas.microsoft.com/office/drawing/2014/main" id="{276970B1-F338-70D7-DC5E-68E1E53BDA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11">
                <a:extLst>
                  <a:ext uri="{FF2B5EF4-FFF2-40B4-BE49-F238E27FC236}">
                    <a16:creationId xmlns:a16="http://schemas.microsoft.com/office/drawing/2014/main" id="{62AD6061-AE5A-9AF9-5890-6A421C711A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3">
                <a:extLst>
                  <a:ext uri="{FF2B5EF4-FFF2-40B4-BE49-F238E27FC236}">
                    <a16:creationId xmlns:a16="http://schemas.microsoft.com/office/drawing/2014/main" id="{2DF940BE-1411-9B01-D9D0-6A0E1097BC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3" name="Live area">
              <a:extLst>
                <a:ext uri="{FF2B5EF4-FFF2-40B4-BE49-F238E27FC236}">
                  <a16:creationId xmlns:a16="http://schemas.microsoft.com/office/drawing/2014/main" id="{266C9D00-85A4-B6F4-C104-6759640E0170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06D710BE-4C39-3B39-3382-C128C4DFB544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57432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6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83867C2-34D2-0BBE-7DCA-49297481C62B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D812C04A-0C33-7687-D7CE-B1CB30B314D3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A0C5702D-396F-1F86-E11A-97E42D058A8A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F5AFBD9F-A51B-0510-9EF0-27FF149010B7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55299D7D-97AA-F593-226F-A8D3DC7247F8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DAC4F15A-9596-0633-E442-73D11C02D2E0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254C112F-06B1-9306-6BA8-9F97D2A15CC6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46EECB85-F13F-E272-6A95-48075104474B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ED516EF9-9AB9-E489-54CA-453F14F6B84E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7682E2DC-1213-14D1-0F4A-6515FF860527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761C4D39-4A0F-A3BC-2043-9EEACABDEC5F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30E93E87-7A9E-3D45-D34F-A8B12F9C91F7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218586BC-2C5A-D173-9699-E230BFD4C538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61BC1707-26F5-8E34-17BF-79386BE4AAE9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53FADCBC-4219-777E-BD93-53D633CCB159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9A18C547-898D-4017-54F5-7C0A5F79C2D6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04451D4A-8DBE-3FED-144A-82968A80E9F1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2F7E59D5-836B-5123-B57F-32E23D2A2A53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AA20C417-D2CF-C5A8-3934-F80BDD419FD9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DF71948F-5B9C-07F6-D645-FD740F85012C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D5AE1C47-6244-2AE4-2A74-BE668CA3CF7B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F2936F7F-81F3-D225-BD8B-E7DCC3B47C61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E514076F-25A7-B17E-7C4E-977D88674365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558E9F93-ACB9-4ECF-D41C-EFC7459819B4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9" name="Rectangle 34">
                <a:extLst>
                  <a:ext uri="{FF2B5EF4-FFF2-40B4-BE49-F238E27FC236}">
                    <a16:creationId xmlns:a16="http://schemas.microsoft.com/office/drawing/2014/main" id="{079427B7-28FC-EFCE-E8FA-2603CE20BC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35">
                <a:extLst>
                  <a:ext uri="{FF2B5EF4-FFF2-40B4-BE49-F238E27FC236}">
                    <a16:creationId xmlns:a16="http://schemas.microsoft.com/office/drawing/2014/main" id="{83D80D24-F875-F656-4FC4-C29A75C5F0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36">
                <a:extLst>
                  <a:ext uri="{FF2B5EF4-FFF2-40B4-BE49-F238E27FC236}">
                    <a16:creationId xmlns:a16="http://schemas.microsoft.com/office/drawing/2014/main" id="{0C5F018A-DBF4-D4B6-603F-EC0DBD558F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7">
                <a:extLst>
                  <a:ext uri="{FF2B5EF4-FFF2-40B4-BE49-F238E27FC236}">
                    <a16:creationId xmlns:a16="http://schemas.microsoft.com/office/drawing/2014/main" id="{5822EC1C-F8BA-E8A9-6681-02CB1117F0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8">
                <a:extLst>
                  <a:ext uri="{FF2B5EF4-FFF2-40B4-BE49-F238E27FC236}">
                    <a16:creationId xmlns:a16="http://schemas.microsoft.com/office/drawing/2014/main" id="{FDE81401-7912-607B-7A53-95B8E42691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9">
                <a:extLst>
                  <a:ext uri="{FF2B5EF4-FFF2-40B4-BE49-F238E27FC236}">
                    <a16:creationId xmlns:a16="http://schemas.microsoft.com/office/drawing/2014/main" id="{E6E9613B-F2F0-9C49-DFCE-895B8AF838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0">
                <a:extLst>
                  <a:ext uri="{FF2B5EF4-FFF2-40B4-BE49-F238E27FC236}">
                    <a16:creationId xmlns:a16="http://schemas.microsoft.com/office/drawing/2014/main" id="{AEF2A68D-EFDD-A073-3A8C-085849B64F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1">
                <a:extLst>
                  <a:ext uri="{FF2B5EF4-FFF2-40B4-BE49-F238E27FC236}">
                    <a16:creationId xmlns:a16="http://schemas.microsoft.com/office/drawing/2014/main" id="{6C0F4999-6335-DE11-452A-AC6AA66F8C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2">
                <a:extLst>
                  <a:ext uri="{FF2B5EF4-FFF2-40B4-BE49-F238E27FC236}">
                    <a16:creationId xmlns:a16="http://schemas.microsoft.com/office/drawing/2014/main" id="{0506155B-F38D-6A7A-360B-4463982D26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3">
                <a:extLst>
                  <a:ext uri="{FF2B5EF4-FFF2-40B4-BE49-F238E27FC236}">
                    <a16:creationId xmlns:a16="http://schemas.microsoft.com/office/drawing/2014/main" id="{E2D2A892-F096-9A02-5031-3535A8B78E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4">
                <a:extLst>
                  <a:ext uri="{FF2B5EF4-FFF2-40B4-BE49-F238E27FC236}">
                    <a16:creationId xmlns:a16="http://schemas.microsoft.com/office/drawing/2014/main" id="{CAF2E177-0977-B5C6-DE60-FF4808131B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A8CF1B1A-5C16-43DE-C262-AE3C147BA924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" name="Footnote measure">
              <a:extLst>
                <a:ext uri="{FF2B5EF4-FFF2-40B4-BE49-F238E27FC236}">
                  <a16:creationId xmlns:a16="http://schemas.microsoft.com/office/drawing/2014/main" id="{C0D6D5A2-FE2D-2C98-840A-E1C7CEE844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Whitespace measure">
              <a:extLst>
                <a:ext uri="{FF2B5EF4-FFF2-40B4-BE49-F238E27FC236}">
                  <a16:creationId xmlns:a16="http://schemas.microsoft.com/office/drawing/2014/main" id="{32FF10FA-3AC0-C0AF-070A-67338F1A14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Five column measure">
              <a:extLst>
                <a:ext uri="{FF2B5EF4-FFF2-40B4-BE49-F238E27FC236}">
                  <a16:creationId xmlns:a16="http://schemas.microsoft.com/office/drawing/2014/main" id="{7C13865A-EA14-BBDB-6CA4-FEAD8B5021C8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4" name="Rectangle 5">
                <a:extLst>
                  <a:ext uri="{FF2B5EF4-FFF2-40B4-BE49-F238E27FC236}">
                    <a16:creationId xmlns:a16="http://schemas.microsoft.com/office/drawing/2014/main" id="{4C9A66F6-BE84-CBBB-CAF4-75225851E4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Rectangle 7">
                <a:extLst>
                  <a:ext uri="{FF2B5EF4-FFF2-40B4-BE49-F238E27FC236}">
                    <a16:creationId xmlns:a16="http://schemas.microsoft.com/office/drawing/2014/main" id="{5D901836-3036-9148-8A09-06AB3CFAEC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9">
                <a:extLst>
                  <a:ext uri="{FF2B5EF4-FFF2-40B4-BE49-F238E27FC236}">
                    <a16:creationId xmlns:a16="http://schemas.microsoft.com/office/drawing/2014/main" id="{8A871897-278C-3F06-6DA3-5463762FD3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11">
                <a:extLst>
                  <a:ext uri="{FF2B5EF4-FFF2-40B4-BE49-F238E27FC236}">
                    <a16:creationId xmlns:a16="http://schemas.microsoft.com/office/drawing/2014/main" id="{069E48FF-7B4E-83E8-DAA1-761EA6ABC4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13">
                <a:extLst>
                  <a:ext uri="{FF2B5EF4-FFF2-40B4-BE49-F238E27FC236}">
                    <a16:creationId xmlns:a16="http://schemas.microsoft.com/office/drawing/2014/main" id="{61F22E88-1C8C-A754-425B-C6A9F7CABC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" name="Live area">
              <a:extLst>
                <a:ext uri="{FF2B5EF4-FFF2-40B4-BE49-F238E27FC236}">
                  <a16:creationId xmlns:a16="http://schemas.microsoft.com/office/drawing/2014/main" id="{8DF3C429-630D-EED8-79BA-37B0C6289FDF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3" name="Footnote example">
              <a:extLst>
                <a:ext uri="{FF2B5EF4-FFF2-40B4-BE49-F238E27FC236}">
                  <a16:creationId xmlns:a16="http://schemas.microsoft.com/office/drawing/2014/main" id="{C10789C3-CEAC-D81B-A1D3-28C04C29CD18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71453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6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AB340C12-7EC8-7A22-F967-7555F623A51A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660B88C8-F52D-94F5-309C-73A707C17D2B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B83DFD4A-103C-B45B-4FA2-91393FAD587B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6C9FC946-3374-C069-1849-CF9BEA6AC9FD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64DC489D-6C4B-4297-14B3-6F0A2C5D98AA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61FA1D28-E38C-DAFF-FE72-6D929CCB3C9B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A8D073E9-780F-22FA-4C04-F25BBE93876D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091F6BA0-F2A9-6DAE-1529-9DA55489A230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95071D9D-0CE7-9F25-4742-56EC11927B30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92A96104-AFA7-C5BF-3FD5-E3A236A31138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425747DF-08F5-7F1C-C942-AD55DCC8D3A4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FFAF9962-651E-89A9-2B7A-3A1BFCD77805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96714370-6A95-A4EA-59B2-9E76AEF2E08F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5431190B-70E2-FBE7-B449-56AE1FF38CD2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419B2C1D-1128-3D23-33B4-763AB7049B14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BE1CA8B7-CFCB-B7A4-1B3C-43947817FB41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450783E3-A2F5-F593-7650-20AF4A599637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E4FD5C34-5822-69D0-84A2-1519E8D1FD44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66511A53-28F0-4E27-2C0C-6C8F9C0B2CF7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915BCA8B-C11E-975C-910E-E4F8959FA5F5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6EB49FFB-65B8-DC2F-6DE2-75ECEDE5ECA0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D369C4EA-4C88-28A6-52F0-725689B06C8C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0923FA1C-57D0-BFA3-83C8-C5CAE8789784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C39D3B60-1F98-E0A9-0FBB-5FA11273B79D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3" name="Rectangle 34">
                <a:extLst>
                  <a:ext uri="{FF2B5EF4-FFF2-40B4-BE49-F238E27FC236}">
                    <a16:creationId xmlns:a16="http://schemas.microsoft.com/office/drawing/2014/main" id="{0B9116B3-DFEA-6B6D-583E-42D4CC4F29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5">
                <a:extLst>
                  <a:ext uri="{FF2B5EF4-FFF2-40B4-BE49-F238E27FC236}">
                    <a16:creationId xmlns:a16="http://schemas.microsoft.com/office/drawing/2014/main" id="{0F5E8797-C0EA-175F-4246-A9238E733A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6">
                <a:extLst>
                  <a:ext uri="{FF2B5EF4-FFF2-40B4-BE49-F238E27FC236}">
                    <a16:creationId xmlns:a16="http://schemas.microsoft.com/office/drawing/2014/main" id="{6754C620-8DE4-6DB6-3F1F-CAD9E031F7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7">
                <a:extLst>
                  <a:ext uri="{FF2B5EF4-FFF2-40B4-BE49-F238E27FC236}">
                    <a16:creationId xmlns:a16="http://schemas.microsoft.com/office/drawing/2014/main" id="{993DFE27-0AA9-8E71-F954-2B677E5FCB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8">
                <a:extLst>
                  <a:ext uri="{FF2B5EF4-FFF2-40B4-BE49-F238E27FC236}">
                    <a16:creationId xmlns:a16="http://schemas.microsoft.com/office/drawing/2014/main" id="{739DA99A-42A6-658F-B42B-92AA69FC82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39">
                <a:extLst>
                  <a:ext uri="{FF2B5EF4-FFF2-40B4-BE49-F238E27FC236}">
                    <a16:creationId xmlns:a16="http://schemas.microsoft.com/office/drawing/2014/main" id="{E19B1277-0F8B-C874-8239-864DBB5557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0">
                <a:extLst>
                  <a:ext uri="{FF2B5EF4-FFF2-40B4-BE49-F238E27FC236}">
                    <a16:creationId xmlns:a16="http://schemas.microsoft.com/office/drawing/2014/main" id="{9131268A-D578-2029-13D0-7340ED5850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1">
                <a:extLst>
                  <a:ext uri="{FF2B5EF4-FFF2-40B4-BE49-F238E27FC236}">
                    <a16:creationId xmlns:a16="http://schemas.microsoft.com/office/drawing/2014/main" id="{F273A6DF-8939-EE66-B6DD-2CB3239DC1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2">
                <a:extLst>
                  <a:ext uri="{FF2B5EF4-FFF2-40B4-BE49-F238E27FC236}">
                    <a16:creationId xmlns:a16="http://schemas.microsoft.com/office/drawing/2014/main" id="{7DEB2D87-34C4-EA7F-B5CE-30CAAFD916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3">
                <a:extLst>
                  <a:ext uri="{FF2B5EF4-FFF2-40B4-BE49-F238E27FC236}">
                    <a16:creationId xmlns:a16="http://schemas.microsoft.com/office/drawing/2014/main" id="{D1AF73CB-4883-58AE-782C-F53EE6B98D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44">
                <a:extLst>
                  <a:ext uri="{FF2B5EF4-FFF2-40B4-BE49-F238E27FC236}">
                    <a16:creationId xmlns:a16="http://schemas.microsoft.com/office/drawing/2014/main" id="{53ABD983-4576-1671-D5E3-6A83F16A9F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59A830C5-0684-4A31-EF2E-A2667CE9465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" name="Footnote measure">
              <a:extLst>
                <a:ext uri="{FF2B5EF4-FFF2-40B4-BE49-F238E27FC236}">
                  <a16:creationId xmlns:a16="http://schemas.microsoft.com/office/drawing/2014/main" id="{43759422-478C-F73E-A3F3-AC70347F3C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Whitespace measure">
              <a:extLst>
                <a:ext uri="{FF2B5EF4-FFF2-40B4-BE49-F238E27FC236}">
                  <a16:creationId xmlns:a16="http://schemas.microsoft.com/office/drawing/2014/main" id="{7227272C-0C0F-4A42-1D3E-666E2B49BB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Five column measure">
              <a:extLst>
                <a:ext uri="{FF2B5EF4-FFF2-40B4-BE49-F238E27FC236}">
                  <a16:creationId xmlns:a16="http://schemas.microsoft.com/office/drawing/2014/main" id="{5B2FE704-0546-4AEA-06C7-091C3105866F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" name="Rectangle 5">
                <a:extLst>
                  <a:ext uri="{FF2B5EF4-FFF2-40B4-BE49-F238E27FC236}">
                    <a16:creationId xmlns:a16="http://schemas.microsoft.com/office/drawing/2014/main" id="{079B5E27-1CCD-6BEA-EA65-4D056DED88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7">
                <a:extLst>
                  <a:ext uri="{FF2B5EF4-FFF2-40B4-BE49-F238E27FC236}">
                    <a16:creationId xmlns:a16="http://schemas.microsoft.com/office/drawing/2014/main" id="{5ED53AD2-3A63-181B-C91D-551548D4E9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9">
                <a:extLst>
                  <a:ext uri="{FF2B5EF4-FFF2-40B4-BE49-F238E27FC236}">
                    <a16:creationId xmlns:a16="http://schemas.microsoft.com/office/drawing/2014/main" id="{6FE56E2F-A4F5-B5DE-A632-55182E8A05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1">
                <a:extLst>
                  <a:ext uri="{FF2B5EF4-FFF2-40B4-BE49-F238E27FC236}">
                    <a16:creationId xmlns:a16="http://schemas.microsoft.com/office/drawing/2014/main" id="{4608141E-E2BB-FC7F-6E36-BDA29BDC95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13">
                <a:extLst>
                  <a:ext uri="{FF2B5EF4-FFF2-40B4-BE49-F238E27FC236}">
                    <a16:creationId xmlns:a16="http://schemas.microsoft.com/office/drawing/2014/main" id="{22A99521-92B2-C377-59E3-28812EB7C2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" name="Live area">
              <a:extLst>
                <a:ext uri="{FF2B5EF4-FFF2-40B4-BE49-F238E27FC236}">
                  <a16:creationId xmlns:a16="http://schemas.microsoft.com/office/drawing/2014/main" id="{FB3C8917-B85E-4461-92F7-B90621A2694A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E9416E45-9EBD-5821-6160-DEE945A67475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85335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67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662D44E-21FA-47FA-F917-5DF246B56F6F}"/>
              </a:ext>
            </a:extLst>
          </p:cNvPr>
          <p:cNvGrpSpPr/>
          <p:nvPr userDrawn="1">
            <p:custDataLst>
              <p:tags r:id="rId4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" name="No fly zone">
              <a:extLst>
                <a:ext uri="{FF2B5EF4-FFF2-40B4-BE49-F238E27FC236}">
                  <a16:creationId xmlns:a16="http://schemas.microsoft.com/office/drawing/2014/main" id="{866CC858-4439-4832-88E3-E2CF5004BCB2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6" name="Baselines / anchors">
              <a:extLst>
                <a:ext uri="{FF2B5EF4-FFF2-40B4-BE49-F238E27FC236}">
                  <a16:creationId xmlns:a16="http://schemas.microsoft.com/office/drawing/2014/main" id="{165CD874-690E-494D-5CE7-C5ABA62EA609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73786F5D-1047-D1C0-4208-C581D08FB679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25A2E115-D8C5-E25B-9CE4-4A3435A38EAB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930702A2-636D-3895-C72A-3E33A9FC72C8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6810DEF4-7A24-384F-0E41-3EE7E88E7DAE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D5E49E25-8F5F-7FF7-A8C3-7751BF91DD26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483840B2-90E8-C915-D3C1-365C59ED23A9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50B685BB-9A6D-DB37-6468-24298082C6AC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5CF91ACE-47DC-4CF9-2978-31A4CC3B248A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3A8E28FC-744B-9AD4-2A8A-46FA41FF249B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E6ED0D70-CDA2-CA94-DC04-7F5B3793E092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8AEECA4D-17AE-2BAB-0798-EAD9DEBEE4C9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156B184B-4FF5-66F9-F35E-CB07CDA4FF87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CAE1EE37-F463-0458-3327-99DDBAAD2EB0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BB755F2D-9558-F1CD-07EC-003A99A73107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DA5F8657-5C5A-6C1A-F795-87CCC00146CD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2D80C62B-549E-4207-DD96-2B05B269FF16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48F275BB-89C3-C36B-7108-627BF2E92FBA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A500E6FA-ED32-98E5-4C6A-7771C90DA26A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775B53E3-75F7-64A2-30C8-91C86DF58269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03A11180-3041-ADDA-83CE-F135C87BF336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utter space">
              <a:extLst>
                <a:ext uri="{FF2B5EF4-FFF2-40B4-BE49-F238E27FC236}">
                  <a16:creationId xmlns:a16="http://schemas.microsoft.com/office/drawing/2014/main" id="{F173605E-C3A9-384D-0310-6CBF450A92BB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3" name="Rectangle 34">
                <a:extLst>
                  <a:ext uri="{FF2B5EF4-FFF2-40B4-BE49-F238E27FC236}">
                    <a16:creationId xmlns:a16="http://schemas.microsoft.com/office/drawing/2014/main" id="{2BA4AFF6-6B2A-17DD-D533-EE02276F23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5">
                <a:extLst>
                  <a:ext uri="{FF2B5EF4-FFF2-40B4-BE49-F238E27FC236}">
                    <a16:creationId xmlns:a16="http://schemas.microsoft.com/office/drawing/2014/main" id="{56E77657-634A-B2DA-43A8-F299035ADE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6">
                <a:extLst>
                  <a:ext uri="{FF2B5EF4-FFF2-40B4-BE49-F238E27FC236}">
                    <a16:creationId xmlns:a16="http://schemas.microsoft.com/office/drawing/2014/main" id="{1FF6417D-CEE8-5928-DDDC-6A2C3FF2BF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7">
                <a:extLst>
                  <a:ext uri="{FF2B5EF4-FFF2-40B4-BE49-F238E27FC236}">
                    <a16:creationId xmlns:a16="http://schemas.microsoft.com/office/drawing/2014/main" id="{C7F72ADC-1889-75D6-B1DE-3789D83ECF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8">
                <a:extLst>
                  <a:ext uri="{FF2B5EF4-FFF2-40B4-BE49-F238E27FC236}">
                    <a16:creationId xmlns:a16="http://schemas.microsoft.com/office/drawing/2014/main" id="{38FBD44F-C918-AA47-673D-63425246DB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39">
                <a:extLst>
                  <a:ext uri="{FF2B5EF4-FFF2-40B4-BE49-F238E27FC236}">
                    <a16:creationId xmlns:a16="http://schemas.microsoft.com/office/drawing/2014/main" id="{635C3BDC-B7C1-511E-029A-9F9679CEB3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0">
                <a:extLst>
                  <a:ext uri="{FF2B5EF4-FFF2-40B4-BE49-F238E27FC236}">
                    <a16:creationId xmlns:a16="http://schemas.microsoft.com/office/drawing/2014/main" id="{87D0F547-C3C9-C2E2-5D25-D52F55F3BE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1">
                <a:extLst>
                  <a:ext uri="{FF2B5EF4-FFF2-40B4-BE49-F238E27FC236}">
                    <a16:creationId xmlns:a16="http://schemas.microsoft.com/office/drawing/2014/main" id="{5650B5D5-5976-A98D-4B2C-FA4AC9D5B0C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2">
                <a:extLst>
                  <a:ext uri="{FF2B5EF4-FFF2-40B4-BE49-F238E27FC236}">
                    <a16:creationId xmlns:a16="http://schemas.microsoft.com/office/drawing/2014/main" id="{B7E0D404-D6A3-0811-7086-3CB9C09AB6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3">
                <a:extLst>
                  <a:ext uri="{FF2B5EF4-FFF2-40B4-BE49-F238E27FC236}">
                    <a16:creationId xmlns:a16="http://schemas.microsoft.com/office/drawing/2014/main" id="{740CBDDF-A2FE-B51D-75B1-FB91153EDF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44">
                <a:extLst>
                  <a:ext uri="{FF2B5EF4-FFF2-40B4-BE49-F238E27FC236}">
                    <a16:creationId xmlns:a16="http://schemas.microsoft.com/office/drawing/2014/main" id="{8EB851A2-6FDF-A5BE-D568-77D9F64DDC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9" name="Slide edges">
              <a:extLst>
                <a:ext uri="{FF2B5EF4-FFF2-40B4-BE49-F238E27FC236}">
                  <a16:creationId xmlns:a16="http://schemas.microsoft.com/office/drawing/2014/main" id="{754F62A5-1DEB-E9A5-32E9-43B0A41E4915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3" name="Footnote measure">
              <a:extLst>
                <a:ext uri="{FF2B5EF4-FFF2-40B4-BE49-F238E27FC236}">
                  <a16:creationId xmlns:a16="http://schemas.microsoft.com/office/drawing/2014/main" id="{A1EE5EB1-F40E-7D81-6863-D9FC7A9909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Whitespace measure">
              <a:extLst>
                <a:ext uri="{FF2B5EF4-FFF2-40B4-BE49-F238E27FC236}">
                  <a16:creationId xmlns:a16="http://schemas.microsoft.com/office/drawing/2014/main" id="{B2DBFE8E-5EAA-36B0-C49B-8F749E268F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5" name="Five column measure">
              <a:extLst>
                <a:ext uri="{FF2B5EF4-FFF2-40B4-BE49-F238E27FC236}">
                  <a16:creationId xmlns:a16="http://schemas.microsoft.com/office/drawing/2014/main" id="{B560A9C8-A843-88C6-F7F2-20E158151F2A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8" name="Rectangle 5">
                <a:extLst>
                  <a:ext uri="{FF2B5EF4-FFF2-40B4-BE49-F238E27FC236}">
                    <a16:creationId xmlns:a16="http://schemas.microsoft.com/office/drawing/2014/main" id="{A3508995-71F9-C835-0670-298AEA1B30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7">
                <a:extLst>
                  <a:ext uri="{FF2B5EF4-FFF2-40B4-BE49-F238E27FC236}">
                    <a16:creationId xmlns:a16="http://schemas.microsoft.com/office/drawing/2014/main" id="{0D4E28AB-921A-220F-0005-AD192DC052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9">
                <a:extLst>
                  <a:ext uri="{FF2B5EF4-FFF2-40B4-BE49-F238E27FC236}">
                    <a16:creationId xmlns:a16="http://schemas.microsoft.com/office/drawing/2014/main" id="{8D9A8D85-5C1B-2AFB-46A0-5B0C49667A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1">
                <a:extLst>
                  <a:ext uri="{FF2B5EF4-FFF2-40B4-BE49-F238E27FC236}">
                    <a16:creationId xmlns:a16="http://schemas.microsoft.com/office/drawing/2014/main" id="{187B9B30-D399-79FA-9A27-056F61F067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13">
                <a:extLst>
                  <a:ext uri="{FF2B5EF4-FFF2-40B4-BE49-F238E27FC236}">
                    <a16:creationId xmlns:a16="http://schemas.microsoft.com/office/drawing/2014/main" id="{FF10C7FB-904B-54A3-F009-4257A7917E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6" name="Live area">
              <a:extLst>
                <a:ext uri="{FF2B5EF4-FFF2-40B4-BE49-F238E27FC236}">
                  <a16:creationId xmlns:a16="http://schemas.microsoft.com/office/drawing/2014/main" id="{733682CE-BCC0-81E6-D95E-BB580ECE3C4F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7" name="Footnote example">
              <a:extLst>
                <a:ext uri="{FF2B5EF4-FFF2-40B4-BE49-F238E27FC236}">
                  <a16:creationId xmlns:a16="http://schemas.microsoft.com/office/drawing/2014/main" id="{5695D890-C513-BEFF-1553-ADBECE88E05F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51635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70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E294512-8B93-A308-6869-D1549ECE614D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C1ED4B7C-E12C-E974-3532-D01AFCA8C72F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CBABBDAB-2E28-191E-8393-7958B1B13099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67C96D3C-6952-C03A-744A-7F16C8E91833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A5753209-A868-2AFF-5BBE-944BB3C6660D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5052E1AA-8B89-EF7C-6D1B-AF005A4B640B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2C1CE54E-8272-7C25-62E5-C3CFDBED57F3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577CEDAF-76EE-0DAB-955B-90AB1266CDEE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B24F8EBE-2E77-32F5-3B4E-38BE1D7F841A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082A47DB-7711-0B51-7478-A9321F77BB02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7F2EEFDA-A77D-820E-C889-EF130C626E0A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8F22956D-96AE-6467-72B2-F69F0D7EBF53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80994130-E74B-6FF7-1020-E26D93FDB79A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C416C726-A071-ED18-D81F-E710527D32C4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A4A15373-7A17-2876-3DB0-C8D6772949CA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F39F257B-C89B-2670-28CB-D3B4D1CFA563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E5A28CF9-42A9-9E07-214C-EE0F453747F5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E3A5BDF4-D151-343A-FC89-F35130521506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29BE7756-3ACA-84E2-33E4-86BA9A83290B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AF6D4D64-AEDA-9120-8F4E-6ED12463A0FE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66041C71-1682-1484-2641-C887719FDF72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E669F1D1-AB3D-F921-0E6C-E10D44BB8BBB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2CE4B5ED-F047-22D1-66DC-78A3A03339EA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9CE4B0F5-FA1C-257D-3203-83CF57B645D7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1" name="Rectangle 34">
                <a:extLst>
                  <a:ext uri="{FF2B5EF4-FFF2-40B4-BE49-F238E27FC236}">
                    <a16:creationId xmlns:a16="http://schemas.microsoft.com/office/drawing/2014/main" id="{4A3305EB-899E-1315-C0DE-24A10C72E1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5">
                <a:extLst>
                  <a:ext uri="{FF2B5EF4-FFF2-40B4-BE49-F238E27FC236}">
                    <a16:creationId xmlns:a16="http://schemas.microsoft.com/office/drawing/2014/main" id="{624A4E18-FEE3-E300-ACAD-877D61004D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6">
                <a:extLst>
                  <a:ext uri="{FF2B5EF4-FFF2-40B4-BE49-F238E27FC236}">
                    <a16:creationId xmlns:a16="http://schemas.microsoft.com/office/drawing/2014/main" id="{5D8BC5B1-2229-860C-1773-F95BDEB381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7">
                <a:extLst>
                  <a:ext uri="{FF2B5EF4-FFF2-40B4-BE49-F238E27FC236}">
                    <a16:creationId xmlns:a16="http://schemas.microsoft.com/office/drawing/2014/main" id="{A1886157-746E-2E3A-19F4-2B4D90C75E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8">
                <a:extLst>
                  <a:ext uri="{FF2B5EF4-FFF2-40B4-BE49-F238E27FC236}">
                    <a16:creationId xmlns:a16="http://schemas.microsoft.com/office/drawing/2014/main" id="{8608E5D1-5A0F-B354-9C1B-109375F7BD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9">
                <a:extLst>
                  <a:ext uri="{FF2B5EF4-FFF2-40B4-BE49-F238E27FC236}">
                    <a16:creationId xmlns:a16="http://schemas.microsoft.com/office/drawing/2014/main" id="{956CC9F7-A36B-9801-1935-1F1720DC9F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0">
                <a:extLst>
                  <a:ext uri="{FF2B5EF4-FFF2-40B4-BE49-F238E27FC236}">
                    <a16:creationId xmlns:a16="http://schemas.microsoft.com/office/drawing/2014/main" id="{545BDFC2-292E-EC7D-A8BF-6295D170CF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1">
                <a:extLst>
                  <a:ext uri="{FF2B5EF4-FFF2-40B4-BE49-F238E27FC236}">
                    <a16:creationId xmlns:a16="http://schemas.microsoft.com/office/drawing/2014/main" id="{F4A08248-922A-F5E6-CEFA-5D283CD050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2">
                <a:extLst>
                  <a:ext uri="{FF2B5EF4-FFF2-40B4-BE49-F238E27FC236}">
                    <a16:creationId xmlns:a16="http://schemas.microsoft.com/office/drawing/2014/main" id="{B94BDCB8-7C1E-C1F2-58DD-470F3378DE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3">
                <a:extLst>
                  <a:ext uri="{FF2B5EF4-FFF2-40B4-BE49-F238E27FC236}">
                    <a16:creationId xmlns:a16="http://schemas.microsoft.com/office/drawing/2014/main" id="{E80CDAE8-2152-BB5E-7051-BCF0746752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4">
                <a:extLst>
                  <a:ext uri="{FF2B5EF4-FFF2-40B4-BE49-F238E27FC236}">
                    <a16:creationId xmlns:a16="http://schemas.microsoft.com/office/drawing/2014/main" id="{0E5BC7C2-FC93-0128-7686-D1071A3A49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8" name="Slide edges">
              <a:extLst>
                <a:ext uri="{FF2B5EF4-FFF2-40B4-BE49-F238E27FC236}">
                  <a16:creationId xmlns:a16="http://schemas.microsoft.com/office/drawing/2014/main" id="{3D842552-A379-0AF1-6AF3-7B98C0A86153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:a16="http://schemas.microsoft.com/office/drawing/2014/main" id="{CDEC869E-6D34-E8EC-3C93-D4F2E1569F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1E7649E8-343A-15FC-3B1F-8C100412BB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7C5B9D3D-C04E-3DFB-B17F-5838D781F60A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6" name="Rectangle 5">
                <a:extLst>
                  <a:ext uri="{FF2B5EF4-FFF2-40B4-BE49-F238E27FC236}">
                    <a16:creationId xmlns:a16="http://schemas.microsoft.com/office/drawing/2014/main" id="{787D963E-2EC8-A3F9-F973-59ACD4CF01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7">
                <a:extLst>
                  <a:ext uri="{FF2B5EF4-FFF2-40B4-BE49-F238E27FC236}">
                    <a16:creationId xmlns:a16="http://schemas.microsoft.com/office/drawing/2014/main" id="{12E1CA96-2B9B-CE83-B53B-20D62CFE1D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9">
                <a:extLst>
                  <a:ext uri="{FF2B5EF4-FFF2-40B4-BE49-F238E27FC236}">
                    <a16:creationId xmlns:a16="http://schemas.microsoft.com/office/drawing/2014/main" id="{8776F898-D2BE-95B1-A520-88AFB62A08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1">
                <a:extLst>
                  <a:ext uri="{FF2B5EF4-FFF2-40B4-BE49-F238E27FC236}">
                    <a16:creationId xmlns:a16="http://schemas.microsoft.com/office/drawing/2014/main" id="{812455D3-2452-6559-804B-57A57B9BED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3">
                <a:extLst>
                  <a:ext uri="{FF2B5EF4-FFF2-40B4-BE49-F238E27FC236}">
                    <a16:creationId xmlns:a16="http://schemas.microsoft.com/office/drawing/2014/main" id="{DDF83439-7C4D-74C9-8501-1FB466C70D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4" name="Live area">
              <a:extLst>
                <a:ext uri="{FF2B5EF4-FFF2-40B4-BE49-F238E27FC236}">
                  <a16:creationId xmlns:a16="http://schemas.microsoft.com/office/drawing/2014/main" id="{B97A5472-1E20-8E3C-EA1F-F8F823FCC55F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5" name="Footnote example">
              <a:extLst>
                <a:ext uri="{FF2B5EF4-FFF2-40B4-BE49-F238E27FC236}">
                  <a16:creationId xmlns:a16="http://schemas.microsoft.com/office/drawing/2014/main" id="{99EF3331-D4A7-52DF-F872-7C704C33947F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6840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2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8160156D-9B72-509E-CB96-8E558E651125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DD8608CB-374D-1953-67EF-B8D8E322F007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0E4B1D80-3C3D-1557-48D1-F2014C88C074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44436B61-9A32-1E3A-DCE1-5743356BC9D5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712DB2A3-5570-BE60-C928-884B6F494730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B34BA63E-4BFD-5B4B-524F-A2A1BAD2239C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A53F71FA-49C2-A9C0-B9E5-31582FF5E22A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320013C1-B1A7-72E4-703A-7307BB4ECD92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C62ED7C3-0738-84AD-FCC7-EDA46DF24DA5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781F513D-B3AF-0571-204A-DDC404CB8EE7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8E79C29F-05E8-235E-3CD4-1BD437203C4F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C254F651-4C6A-BAA0-355F-BCBF51959431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E6095928-81C5-F293-535B-CA787894AE7B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ADD9D985-2A47-22DF-EE90-6D1085334E57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9778158A-8693-5EDB-A24B-DD19F535286E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195E76F3-17EA-C54C-2D26-598D1CF319E1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0BD6E243-3AA6-C4FD-7594-773145142E9E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8EC405DB-7579-AF9E-B2A9-9FD2D747D5F1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9D487A95-8379-15AB-57BE-05DB4AEEA143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5C1B542D-95FD-ACDE-114F-E7E9D7329603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0F1086A1-6DF1-FBFE-35F1-183BE4C4EF90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0C23B564-ED47-2E60-2B6B-B79BA78AE072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3202994C-FD5A-D278-3AE2-E6D15519F5F4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D6C25C68-08B0-F5D8-323E-9930296F9D47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1" name="Rectangle 34">
                <a:extLst>
                  <a:ext uri="{FF2B5EF4-FFF2-40B4-BE49-F238E27FC236}">
                    <a16:creationId xmlns:a16="http://schemas.microsoft.com/office/drawing/2014/main" id="{1BFAE21D-4CE4-A266-1D07-40140D42BF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5">
                <a:extLst>
                  <a:ext uri="{FF2B5EF4-FFF2-40B4-BE49-F238E27FC236}">
                    <a16:creationId xmlns:a16="http://schemas.microsoft.com/office/drawing/2014/main" id="{A00C9E4B-E536-A012-5A78-FA10B0EAE1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6">
                <a:extLst>
                  <a:ext uri="{FF2B5EF4-FFF2-40B4-BE49-F238E27FC236}">
                    <a16:creationId xmlns:a16="http://schemas.microsoft.com/office/drawing/2014/main" id="{40574414-A799-C908-8F77-DD4F2F9537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7">
                <a:extLst>
                  <a:ext uri="{FF2B5EF4-FFF2-40B4-BE49-F238E27FC236}">
                    <a16:creationId xmlns:a16="http://schemas.microsoft.com/office/drawing/2014/main" id="{87643779-872C-4E6D-8ED6-BF6F1E2DA0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8">
                <a:extLst>
                  <a:ext uri="{FF2B5EF4-FFF2-40B4-BE49-F238E27FC236}">
                    <a16:creationId xmlns:a16="http://schemas.microsoft.com/office/drawing/2014/main" id="{62D430BF-8046-4E25-66B3-2679408D2E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9">
                <a:extLst>
                  <a:ext uri="{FF2B5EF4-FFF2-40B4-BE49-F238E27FC236}">
                    <a16:creationId xmlns:a16="http://schemas.microsoft.com/office/drawing/2014/main" id="{A7C0E627-14B4-35A7-8C8E-FCA98FCA4A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0">
                <a:extLst>
                  <a:ext uri="{FF2B5EF4-FFF2-40B4-BE49-F238E27FC236}">
                    <a16:creationId xmlns:a16="http://schemas.microsoft.com/office/drawing/2014/main" id="{D9E62BEF-4264-C7BB-E7CB-C593F8A158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1">
                <a:extLst>
                  <a:ext uri="{FF2B5EF4-FFF2-40B4-BE49-F238E27FC236}">
                    <a16:creationId xmlns:a16="http://schemas.microsoft.com/office/drawing/2014/main" id="{B9794465-49A8-03BC-1632-1D17801FEE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2">
                <a:extLst>
                  <a:ext uri="{FF2B5EF4-FFF2-40B4-BE49-F238E27FC236}">
                    <a16:creationId xmlns:a16="http://schemas.microsoft.com/office/drawing/2014/main" id="{A1652D64-71FE-DFD6-AF03-162800FD02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3">
                <a:extLst>
                  <a:ext uri="{FF2B5EF4-FFF2-40B4-BE49-F238E27FC236}">
                    <a16:creationId xmlns:a16="http://schemas.microsoft.com/office/drawing/2014/main" id="{BF3F55F5-A87F-370A-08FD-DC39C965C0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4">
                <a:extLst>
                  <a:ext uri="{FF2B5EF4-FFF2-40B4-BE49-F238E27FC236}">
                    <a16:creationId xmlns:a16="http://schemas.microsoft.com/office/drawing/2014/main" id="{276D1451-1BB3-3519-570C-35506A8DB9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8" name="Slide edges">
              <a:extLst>
                <a:ext uri="{FF2B5EF4-FFF2-40B4-BE49-F238E27FC236}">
                  <a16:creationId xmlns:a16="http://schemas.microsoft.com/office/drawing/2014/main" id="{8C26212B-68C1-236F-178F-9E9C95F0B0B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:a16="http://schemas.microsoft.com/office/drawing/2014/main" id="{9D7083B6-6E60-A2A4-D615-7844895B8B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0C880474-2812-8B81-B1DB-E73B71311F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607F1E35-87A2-C674-4D78-177651DECE89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6" name="Rectangle 5">
                <a:extLst>
                  <a:ext uri="{FF2B5EF4-FFF2-40B4-BE49-F238E27FC236}">
                    <a16:creationId xmlns:a16="http://schemas.microsoft.com/office/drawing/2014/main" id="{09A87470-D6B5-E313-C077-D1622BC2C1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7">
                <a:extLst>
                  <a:ext uri="{FF2B5EF4-FFF2-40B4-BE49-F238E27FC236}">
                    <a16:creationId xmlns:a16="http://schemas.microsoft.com/office/drawing/2014/main" id="{7BE5C943-A5DB-44BA-7CAC-609FFD892C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9">
                <a:extLst>
                  <a:ext uri="{FF2B5EF4-FFF2-40B4-BE49-F238E27FC236}">
                    <a16:creationId xmlns:a16="http://schemas.microsoft.com/office/drawing/2014/main" id="{F3810D80-1435-2021-924E-F708B6A28A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1">
                <a:extLst>
                  <a:ext uri="{FF2B5EF4-FFF2-40B4-BE49-F238E27FC236}">
                    <a16:creationId xmlns:a16="http://schemas.microsoft.com/office/drawing/2014/main" id="{273CD29E-BD96-4202-BE5B-16239B98C4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3">
                <a:extLst>
                  <a:ext uri="{FF2B5EF4-FFF2-40B4-BE49-F238E27FC236}">
                    <a16:creationId xmlns:a16="http://schemas.microsoft.com/office/drawing/2014/main" id="{F8084999-71EF-B160-27C5-E3EB795046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4" name="Live area">
              <a:extLst>
                <a:ext uri="{FF2B5EF4-FFF2-40B4-BE49-F238E27FC236}">
                  <a16:creationId xmlns:a16="http://schemas.microsoft.com/office/drawing/2014/main" id="{3C96A79D-CD7E-CB42-76EF-A6AF89889AF9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5" name="Footnote example">
              <a:extLst>
                <a:ext uri="{FF2B5EF4-FFF2-40B4-BE49-F238E27FC236}">
                  <a16:creationId xmlns:a16="http://schemas.microsoft.com/office/drawing/2014/main" id="{0D5460E6-00AC-949F-4118-5B26ACDB8053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27409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74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E66B3A9-B3AB-E867-F72A-3E058899F25B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D0298AC6-D110-2292-4A1C-D11D84E9C07C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4BA44A02-3163-7E5D-BFAA-4972A476B93A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40A1FEEE-56B2-36B5-2021-2D211D41E70B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B995A313-5287-E321-7CE7-F3E7E3B28003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8A328A79-2B31-B44D-B1FE-23DDCBF85850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7E99B4E5-4F66-D3AF-7713-6204D667A1E1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E3C638FE-C79E-1CEA-C7D8-7CC2460C24E2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83CF28DB-E1E4-A11B-73DC-1922C6E8BA36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F487B7DB-50EB-0E34-E3FE-6C282D36CBFC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18867B7A-0B19-44D9-7261-9351B50098A1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49D9E731-0C65-647F-19E9-5F4A30DA3123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E3C13118-10E3-F9E5-BD50-3E89D2D53474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960C758D-059C-5A6D-49D5-EFDA74B64F60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D6F6DE2C-D398-2667-E822-19C1D6F863F5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5BBFE4B8-7F66-F755-1A79-E800401CBC13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C6C70466-B208-73C8-1F93-96DF84C556AF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B24E4283-37ED-A7C8-1637-8F6C77A53F42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B51827AC-9E0B-6940-974B-4EBE63A4BA7D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E4AC3650-BEA3-1BCE-AFC9-81FD773D51C5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C17CDB36-0B18-09A1-13EC-88591451156F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EB4A2041-3379-CE56-C0D3-CF7A0CDBF8E7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B54BFA95-F79B-3B20-D0D6-3DAB2577E71C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9ED27C04-D9A2-3A13-2DB6-DCFA7F7BBCBA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2" name="Rectangle 34">
                <a:extLst>
                  <a:ext uri="{FF2B5EF4-FFF2-40B4-BE49-F238E27FC236}">
                    <a16:creationId xmlns:a16="http://schemas.microsoft.com/office/drawing/2014/main" id="{726A4DDE-EBBE-3755-BA4C-1A24309BDE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5">
                <a:extLst>
                  <a:ext uri="{FF2B5EF4-FFF2-40B4-BE49-F238E27FC236}">
                    <a16:creationId xmlns:a16="http://schemas.microsoft.com/office/drawing/2014/main" id="{DCBECB5C-B4CE-E5C9-3F85-4646640B8D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6">
                <a:extLst>
                  <a:ext uri="{FF2B5EF4-FFF2-40B4-BE49-F238E27FC236}">
                    <a16:creationId xmlns:a16="http://schemas.microsoft.com/office/drawing/2014/main" id="{54F55A0E-037D-CB0A-54C1-717D453C76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7">
                <a:extLst>
                  <a:ext uri="{FF2B5EF4-FFF2-40B4-BE49-F238E27FC236}">
                    <a16:creationId xmlns:a16="http://schemas.microsoft.com/office/drawing/2014/main" id="{4933C517-D6C6-8830-BC9D-8899835260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8">
                <a:extLst>
                  <a:ext uri="{FF2B5EF4-FFF2-40B4-BE49-F238E27FC236}">
                    <a16:creationId xmlns:a16="http://schemas.microsoft.com/office/drawing/2014/main" id="{6B05CE80-F93A-6646-2829-B291B9B83E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9">
                <a:extLst>
                  <a:ext uri="{FF2B5EF4-FFF2-40B4-BE49-F238E27FC236}">
                    <a16:creationId xmlns:a16="http://schemas.microsoft.com/office/drawing/2014/main" id="{3DF238A4-0F79-E7E2-9D1D-D2F13FB087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0">
                <a:extLst>
                  <a:ext uri="{FF2B5EF4-FFF2-40B4-BE49-F238E27FC236}">
                    <a16:creationId xmlns:a16="http://schemas.microsoft.com/office/drawing/2014/main" id="{9D6826B8-CF78-152C-A7D5-DE7829D3F9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1">
                <a:extLst>
                  <a:ext uri="{FF2B5EF4-FFF2-40B4-BE49-F238E27FC236}">
                    <a16:creationId xmlns:a16="http://schemas.microsoft.com/office/drawing/2014/main" id="{F7517FAB-DE97-645F-441C-94B7D18857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2">
                <a:extLst>
                  <a:ext uri="{FF2B5EF4-FFF2-40B4-BE49-F238E27FC236}">
                    <a16:creationId xmlns:a16="http://schemas.microsoft.com/office/drawing/2014/main" id="{5F8A117C-1212-C3D1-CD1A-9A160DD127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3">
                <a:extLst>
                  <a:ext uri="{FF2B5EF4-FFF2-40B4-BE49-F238E27FC236}">
                    <a16:creationId xmlns:a16="http://schemas.microsoft.com/office/drawing/2014/main" id="{B948F94B-63EC-F536-021B-3C6C6A1295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4">
                <a:extLst>
                  <a:ext uri="{FF2B5EF4-FFF2-40B4-BE49-F238E27FC236}">
                    <a16:creationId xmlns:a16="http://schemas.microsoft.com/office/drawing/2014/main" id="{AC771ED7-FBCF-191D-A024-4557786B7C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5F36A3E3-0056-6398-62D1-3CB8B5DAA32A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" name="Footnote measure">
              <a:extLst>
                <a:ext uri="{FF2B5EF4-FFF2-40B4-BE49-F238E27FC236}">
                  <a16:creationId xmlns:a16="http://schemas.microsoft.com/office/drawing/2014/main" id="{5A90063C-EE3D-7BDD-E848-86EBEF5383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Whitespace measure">
              <a:extLst>
                <a:ext uri="{FF2B5EF4-FFF2-40B4-BE49-F238E27FC236}">
                  <a16:creationId xmlns:a16="http://schemas.microsoft.com/office/drawing/2014/main" id="{A2F25340-0326-CF40-F389-F217BC7A36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Five column measure">
              <a:extLst>
                <a:ext uri="{FF2B5EF4-FFF2-40B4-BE49-F238E27FC236}">
                  <a16:creationId xmlns:a16="http://schemas.microsoft.com/office/drawing/2014/main" id="{BB5D5132-47A2-7A9D-B23E-7166DB02FE71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6" name="Rectangle 5">
                <a:extLst>
                  <a:ext uri="{FF2B5EF4-FFF2-40B4-BE49-F238E27FC236}">
                    <a16:creationId xmlns:a16="http://schemas.microsoft.com/office/drawing/2014/main" id="{08714A4F-C78B-6236-EBCA-CA06345929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7">
                <a:extLst>
                  <a:ext uri="{FF2B5EF4-FFF2-40B4-BE49-F238E27FC236}">
                    <a16:creationId xmlns:a16="http://schemas.microsoft.com/office/drawing/2014/main" id="{C0E18199-6CCC-76B4-C0EB-1A08E10AAC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9">
                <a:extLst>
                  <a:ext uri="{FF2B5EF4-FFF2-40B4-BE49-F238E27FC236}">
                    <a16:creationId xmlns:a16="http://schemas.microsoft.com/office/drawing/2014/main" id="{A1402D0C-464E-F129-8911-7FE3F27162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1">
                <a:extLst>
                  <a:ext uri="{FF2B5EF4-FFF2-40B4-BE49-F238E27FC236}">
                    <a16:creationId xmlns:a16="http://schemas.microsoft.com/office/drawing/2014/main" id="{E486A8B1-B902-6E74-0BC3-F30EE56CB7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3">
                <a:extLst>
                  <a:ext uri="{FF2B5EF4-FFF2-40B4-BE49-F238E27FC236}">
                    <a16:creationId xmlns:a16="http://schemas.microsoft.com/office/drawing/2014/main" id="{BEE16A32-0AFB-2124-B3D1-210007DDF1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" name="Live area">
              <a:extLst>
                <a:ext uri="{FF2B5EF4-FFF2-40B4-BE49-F238E27FC236}">
                  <a16:creationId xmlns:a16="http://schemas.microsoft.com/office/drawing/2014/main" id="{5E86BA6E-9452-06F5-435A-BEA9E6363B7D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382FF882-8924-9352-0547-8DD7A3FD071B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55622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5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4493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77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/>
              <a:t>Agenda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97A8DF0-2BB4-FAA7-309A-A4446038DCB4}"/>
              </a:ext>
            </a:extLst>
          </p:cNvPr>
          <p:cNvGrpSpPr/>
          <p:nvPr userDrawn="1">
            <p:custDataLst>
              <p:tags r:id="rId4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E968B4F5-D90E-F3C4-B774-D997E47529A7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73635370-1BB2-8164-8A8B-10307D17C034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96DD5BD5-1E78-9ADA-8ED4-86E0A2C6CBEE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6811FE1F-C9BE-B18C-CEFF-C88C33DD27BA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A2071C35-0460-76F6-987B-203ECBFE5A38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8DCAC74F-C911-6195-AEE7-D98B5BE71D20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27291201-E6A4-9AB7-36D9-270242DA15DA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42E146B8-822C-3832-E48B-7101F0A56227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76284025-54D9-61D9-3232-A5BA045BE94B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8E181BD9-5BA7-9B36-E456-F40583BFB019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E0C0EC00-2733-EF1F-69A3-2178D27F3EED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D2FFB4ED-6510-A747-09E5-F5F6F0A99C07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B7731A7A-7546-DD7B-968D-7F100D102B94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DA8F74B2-1132-731A-7C24-E19AC8B7D001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8F9196FC-E1FE-01DC-7393-50CEBAE897F9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24E7C1E3-111D-09DF-9001-CA9A46AA3421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7A606CC3-0362-C97A-5888-E68C82E4DA63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79F6D672-10A9-FC19-AC1A-0D7C679896FC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9414BF3E-8CBE-871F-E295-F0C87272FA00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0571F196-2CCC-D241-B071-0C891032C26E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175D8B04-377C-D580-BD18-D8CF1E63437D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A4DAFA7A-A95B-756C-40C3-02045B1D6689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E6E83E81-F4F5-28B2-5EF6-0E96C38D8EC3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2" name="Rectangle 34">
                <a:extLst>
                  <a:ext uri="{FF2B5EF4-FFF2-40B4-BE49-F238E27FC236}">
                    <a16:creationId xmlns:a16="http://schemas.microsoft.com/office/drawing/2014/main" id="{AD82D0C7-843C-6F3E-5418-EF0023F68C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5">
                <a:extLst>
                  <a:ext uri="{FF2B5EF4-FFF2-40B4-BE49-F238E27FC236}">
                    <a16:creationId xmlns:a16="http://schemas.microsoft.com/office/drawing/2014/main" id="{A2A3120D-D450-3449-835F-D8F6410F53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6">
                <a:extLst>
                  <a:ext uri="{FF2B5EF4-FFF2-40B4-BE49-F238E27FC236}">
                    <a16:creationId xmlns:a16="http://schemas.microsoft.com/office/drawing/2014/main" id="{CA48442E-1939-CA26-00AB-7B009FF48B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7">
                <a:extLst>
                  <a:ext uri="{FF2B5EF4-FFF2-40B4-BE49-F238E27FC236}">
                    <a16:creationId xmlns:a16="http://schemas.microsoft.com/office/drawing/2014/main" id="{E8FC1C61-6D1F-3CD8-0578-1345D4F62B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8">
                <a:extLst>
                  <a:ext uri="{FF2B5EF4-FFF2-40B4-BE49-F238E27FC236}">
                    <a16:creationId xmlns:a16="http://schemas.microsoft.com/office/drawing/2014/main" id="{D4F551DD-F85B-DEAB-713A-888B854F86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9">
                <a:extLst>
                  <a:ext uri="{FF2B5EF4-FFF2-40B4-BE49-F238E27FC236}">
                    <a16:creationId xmlns:a16="http://schemas.microsoft.com/office/drawing/2014/main" id="{F7DCA389-7CA1-4B05-445B-C4C3754650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0">
                <a:extLst>
                  <a:ext uri="{FF2B5EF4-FFF2-40B4-BE49-F238E27FC236}">
                    <a16:creationId xmlns:a16="http://schemas.microsoft.com/office/drawing/2014/main" id="{0C182E83-D38D-CB10-A1C6-7B2F83FD791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1">
                <a:extLst>
                  <a:ext uri="{FF2B5EF4-FFF2-40B4-BE49-F238E27FC236}">
                    <a16:creationId xmlns:a16="http://schemas.microsoft.com/office/drawing/2014/main" id="{7FCE4242-796C-7656-8B80-B6F6C3A130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2">
                <a:extLst>
                  <a:ext uri="{FF2B5EF4-FFF2-40B4-BE49-F238E27FC236}">
                    <a16:creationId xmlns:a16="http://schemas.microsoft.com/office/drawing/2014/main" id="{7959D271-82D0-EB67-72F0-E8CA884E60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3">
                <a:extLst>
                  <a:ext uri="{FF2B5EF4-FFF2-40B4-BE49-F238E27FC236}">
                    <a16:creationId xmlns:a16="http://schemas.microsoft.com/office/drawing/2014/main" id="{C1367938-E6A3-6719-793B-1CE2E46525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4">
                <a:extLst>
                  <a:ext uri="{FF2B5EF4-FFF2-40B4-BE49-F238E27FC236}">
                    <a16:creationId xmlns:a16="http://schemas.microsoft.com/office/drawing/2014/main" id="{EB56B4C8-4838-B6EC-37F2-CA5202FA5F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5CF0A403-1373-52D0-2C8E-9922E6F1C994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2" name="Footnote measure">
              <a:extLst>
                <a:ext uri="{FF2B5EF4-FFF2-40B4-BE49-F238E27FC236}">
                  <a16:creationId xmlns:a16="http://schemas.microsoft.com/office/drawing/2014/main" id="{6EB63514-0239-30CD-8195-D1DD39CC7F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Whitespace measure">
              <a:extLst>
                <a:ext uri="{FF2B5EF4-FFF2-40B4-BE49-F238E27FC236}">
                  <a16:creationId xmlns:a16="http://schemas.microsoft.com/office/drawing/2014/main" id="{9F966C81-15D5-4892-CB92-4E8F02DFB8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4" name="Five column measure">
              <a:extLst>
                <a:ext uri="{FF2B5EF4-FFF2-40B4-BE49-F238E27FC236}">
                  <a16:creationId xmlns:a16="http://schemas.microsoft.com/office/drawing/2014/main" id="{831A5D0D-563C-1E01-FE00-07475BBE8848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7" name="Rectangle 5">
                <a:extLst>
                  <a:ext uri="{FF2B5EF4-FFF2-40B4-BE49-F238E27FC236}">
                    <a16:creationId xmlns:a16="http://schemas.microsoft.com/office/drawing/2014/main" id="{6A30DC78-AC25-02F1-CC19-C725F08E18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7">
                <a:extLst>
                  <a:ext uri="{FF2B5EF4-FFF2-40B4-BE49-F238E27FC236}">
                    <a16:creationId xmlns:a16="http://schemas.microsoft.com/office/drawing/2014/main" id="{47623F49-1300-A422-D40C-5BEB078142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9">
                <a:extLst>
                  <a:ext uri="{FF2B5EF4-FFF2-40B4-BE49-F238E27FC236}">
                    <a16:creationId xmlns:a16="http://schemas.microsoft.com/office/drawing/2014/main" id="{852D8E6A-DF6E-3534-24E8-27F31BD79A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1">
                <a:extLst>
                  <a:ext uri="{FF2B5EF4-FFF2-40B4-BE49-F238E27FC236}">
                    <a16:creationId xmlns:a16="http://schemas.microsoft.com/office/drawing/2014/main" id="{1EA65600-B1DC-F898-D436-A85454F57A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3">
                <a:extLst>
                  <a:ext uri="{FF2B5EF4-FFF2-40B4-BE49-F238E27FC236}">
                    <a16:creationId xmlns:a16="http://schemas.microsoft.com/office/drawing/2014/main" id="{173A6B68-90A3-45A3-405B-A2EADDAD6D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5" name="Live area">
              <a:extLst>
                <a:ext uri="{FF2B5EF4-FFF2-40B4-BE49-F238E27FC236}">
                  <a16:creationId xmlns:a16="http://schemas.microsoft.com/office/drawing/2014/main" id="{553A4D11-FEB5-6691-FC7E-84E42DCC6BAC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6" name="Footnote example">
              <a:extLst>
                <a:ext uri="{FF2B5EF4-FFF2-40B4-BE49-F238E27FC236}">
                  <a16:creationId xmlns:a16="http://schemas.microsoft.com/office/drawing/2014/main" id="{033FD02D-9F9C-292D-5D3C-609B72C47305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5233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7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2B6F47D-8127-50F8-12B1-A90F0E8138C0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16C98BFB-933F-75AB-F920-36E711FB5640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3B175742-6AC3-F271-8064-3D8B32197288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07B00690-1BBD-84A1-95FA-B785A1E08ABE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9167FFCE-5846-83B4-2F49-DE1E40EF9A46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F6DBAD13-DF27-62D4-0BCE-53029D029E06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DEC625EB-8747-B369-2C37-3E309A7174A5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B14EE902-6316-D063-8330-95C817301858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B64A5587-0F79-09BD-28A6-A1693144DC0D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1ED37599-DDC9-6FBD-6FBB-246A08ACEEB2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C762B529-155B-8566-2E34-420C1BA4273E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961E93EE-BC60-BB2B-835D-6A93CADDD3C9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2A54400D-7E54-32DA-94F1-11C104A55D2A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E7977D7B-DE7E-2EC5-716F-C96CE670A758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6479B669-D878-6E22-6FDC-519EB8136C0E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4EEEF646-0CA4-19D0-15B6-3CAB56F39C75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461B0AC3-C4BC-B3EB-C652-B739E1AEF248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696C9806-B4B3-6411-D005-CDCF7175B8B2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B62FB75F-05CF-1D33-E156-2B018FA955F3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C79B33B4-C0C8-1EFD-F60E-4518EDDDF699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1E036590-89DF-6B70-38B4-32EE8F0B36D1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5FB89A08-05EE-3D35-D1D2-962770E5287F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EE589BB3-58E4-940C-810E-8042266A7D37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991621B9-5CBC-71B5-27A7-6DF402286DC9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0" name="Rectangle 34">
                <a:extLst>
                  <a:ext uri="{FF2B5EF4-FFF2-40B4-BE49-F238E27FC236}">
                    <a16:creationId xmlns:a16="http://schemas.microsoft.com/office/drawing/2014/main" id="{EACECC7F-1C78-FB4E-80CD-1D3F4C2D5D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35">
                <a:extLst>
                  <a:ext uri="{FF2B5EF4-FFF2-40B4-BE49-F238E27FC236}">
                    <a16:creationId xmlns:a16="http://schemas.microsoft.com/office/drawing/2014/main" id="{42DAF98F-C458-DB45-ECF4-338278BC6F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6">
                <a:extLst>
                  <a:ext uri="{FF2B5EF4-FFF2-40B4-BE49-F238E27FC236}">
                    <a16:creationId xmlns:a16="http://schemas.microsoft.com/office/drawing/2014/main" id="{BEB58B8C-0137-085D-5D92-28A33511EB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7">
                <a:extLst>
                  <a:ext uri="{FF2B5EF4-FFF2-40B4-BE49-F238E27FC236}">
                    <a16:creationId xmlns:a16="http://schemas.microsoft.com/office/drawing/2014/main" id="{0E1E3D94-7648-1392-1B7F-B643454DB3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8">
                <a:extLst>
                  <a:ext uri="{FF2B5EF4-FFF2-40B4-BE49-F238E27FC236}">
                    <a16:creationId xmlns:a16="http://schemas.microsoft.com/office/drawing/2014/main" id="{D2F2DC0D-B1ED-6496-2B89-5BF2D47FE4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9">
                <a:extLst>
                  <a:ext uri="{FF2B5EF4-FFF2-40B4-BE49-F238E27FC236}">
                    <a16:creationId xmlns:a16="http://schemas.microsoft.com/office/drawing/2014/main" id="{568654DD-C326-65ED-C11E-46F20FA742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40">
                <a:extLst>
                  <a:ext uri="{FF2B5EF4-FFF2-40B4-BE49-F238E27FC236}">
                    <a16:creationId xmlns:a16="http://schemas.microsoft.com/office/drawing/2014/main" id="{96B13C4E-981E-040C-6AFF-1F525A0A59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1">
                <a:extLst>
                  <a:ext uri="{FF2B5EF4-FFF2-40B4-BE49-F238E27FC236}">
                    <a16:creationId xmlns:a16="http://schemas.microsoft.com/office/drawing/2014/main" id="{0A742C1C-DAD4-6337-663A-041DE32F53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2">
                <a:extLst>
                  <a:ext uri="{FF2B5EF4-FFF2-40B4-BE49-F238E27FC236}">
                    <a16:creationId xmlns:a16="http://schemas.microsoft.com/office/drawing/2014/main" id="{03AEA852-0DCE-D445-B021-3F970D6CAC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3">
                <a:extLst>
                  <a:ext uri="{FF2B5EF4-FFF2-40B4-BE49-F238E27FC236}">
                    <a16:creationId xmlns:a16="http://schemas.microsoft.com/office/drawing/2014/main" id="{58830E28-1801-1A97-A775-4F937B0BA3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4">
                <a:extLst>
                  <a:ext uri="{FF2B5EF4-FFF2-40B4-BE49-F238E27FC236}">
                    <a16:creationId xmlns:a16="http://schemas.microsoft.com/office/drawing/2014/main" id="{C949277A-160C-E8EE-7D30-8D7352A45B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29479FE9-746A-2152-E012-B6D526ADF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:a16="http://schemas.microsoft.com/office/drawing/2014/main" id="{E70EE1B2-C7D5-91B3-B3E5-4E529A4E0B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742C8DF6-322A-EAF2-6B06-3240F7E531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8E66B350-446D-93AB-C703-F881EC0343FB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" name="Rectangle 5">
                <a:extLst>
                  <a:ext uri="{FF2B5EF4-FFF2-40B4-BE49-F238E27FC236}">
                    <a16:creationId xmlns:a16="http://schemas.microsoft.com/office/drawing/2014/main" id="{2E5B52CE-B1CF-9384-CC86-8E2EF445C3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7">
                <a:extLst>
                  <a:ext uri="{FF2B5EF4-FFF2-40B4-BE49-F238E27FC236}">
                    <a16:creationId xmlns:a16="http://schemas.microsoft.com/office/drawing/2014/main" id="{375C48DD-2A16-25C3-F1E2-6784F00A34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9">
                <a:extLst>
                  <a:ext uri="{FF2B5EF4-FFF2-40B4-BE49-F238E27FC236}">
                    <a16:creationId xmlns:a16="http://schemas.microsoft.com/office/drawing/2014/main" id="{7BB3D2DD-904B-0FB2-CE89-8AA58248F6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11">
                <a:extLst>
                  <a:ext uri="{FF2B5EF4-FFF2-40B4-BE49-F238E27FC236}">
                    <a16:creationId xmlns:a16="http://schemas.microsoft.com/office/drawing/2014/main" id="{B82422F3-6779-2DF9-1AB4-60E3D03ACA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3">
                <a:extLst>
                  <a:ext uri="{FF2B5EF4-FFF2-40B4-BE49-F238E27FC236}">
                    <a16:creationId xmlns:a16="http://schemas.microsoft.com/office/drawing/2014/main" id="{A5EC6BFD-AC54-C6EB-70BE-00FFA074CC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3" name="Live area">
              <a:extLst>
                <a:ext uri="{FF2B5EF4-FFF2-40B4-BE49-F238E27FC236}">
                  <a16:creationId xmlns:a16="http://schemas.microsoft.com/office/drawing/2014/main" id="{404E7EEF-9B48-55D2-89A5-790281C1A6B5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38FB89A5-D744-8046-881D-70F939D7E2D4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23025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82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91E2E6EC-1687-2310-77E6-F8788B083FB4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54D43E80-738D-3D3B-36ED-CBEB18EE22E5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B8687DFA-C695-EBC5-6C56-2FD0353F36FD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BF18BCEC-E3D8-2A06-C404-BA3949D0A377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EAE0320A-4608-1CE3-7F5E-4035E1048149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42AD7EA2-85BC-60DA-CB5B-A5F8F633E589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3C5DEBBA-BEDF-DE5A-B3F0-46658AD58310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1BCF2B41-B1DB-3B5D-6BE8-C092B32A3DE3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717CCDBC-BE9B-1605-B4C2-475E34EAA461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8A00A6EE-A527-220E-50D1-A39AB796303E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C98DF5C2-1D88-95C2-50AD-A639AE424D44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6E8BE2D9-9046-147B-8084-188AEABEFE3A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FAD976E0-FA89-CEF0-0042-726E7FEB38FD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DFD1DFB2-AA41-86D1-469C-3724FF6E21E3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ACB80428-39B6-D4B9-D931-3C8D586E37C8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CD8BB75A-BA64-9534-6F51-C6968754E2B8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DAC90EB9-9F17-2D77-D521-6C77A3352861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0266E7F0-0F58-307F-A585-016341F8D9FC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7137FFC7-7D6F-E26D-2325-1173570E414E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B25B72AD-9513-3BD3-2B25-63F8433F62C2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AB6BCB80-7737-F668-55BE-CA77F40358AE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F20279C9-D77C-AB8B-8266-1DBE2AFCC3FA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BF7626B9-A0DF-2094-AD80-9D34BDF20310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5762E58B-15DA-3076-3CCB-BD52CCE42437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0" name="Rectangle 34">
                <a:extLst>
                  <a:ext uri="{FF2B5EF4-FFF2-40B4-BE49-F238E27FC236}">
                    <a16:creationId xmlns:a16="http://schemas.microsoft.com/office/drawing/2014/main" id="{F1FAD475-DFB6-FE09-8E3D-987023258D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35">
                <a:extLst>
                  <a:ext uri="{FF2B5EF4-FFF2-40B4-BE49-F238E27FC236}">
                    <a16:creationId xmlns:a16="http://schemas.microsoft.com/office/drawing/2014/main" id="{F9FF56F7-DFC9-1F0E-5D48-5F006FA537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6">
                <a:extLst>
                  <a:ext uri="{FF2B5EF4-FFF2-40B4-BE49-F238E27FC236}">
                    <a16:creationId xmlns:a16="http://schemas.microsoft.com/office/drawing/2014/main" id="{050860E7-C406-B515-A08F-36382EA743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7">
                <a:extLst>
                  <a:ext uri="{FF2B5EF4-FFF2-40B4-BE49-F238E27FC236}">
                    <a16:creationId xmlns:a16="http://schemas.microsoft.com/office/drawing/2014/main" id="{625D2E25-F9A0-742C-A188-A493C7E887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8">
                <a:extLst>
                  <a:ext uri="{FF2B5EF4-FFF2-40B4-BE49-F238E27FC236}">
                    <a16:creationId xmlns:a16="http://schemas.microsoft.com/office/drawing/2014/main" id="{FC4542F9-8641-8577-1D8B-E064B320A2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9">
                <a:extLst>
                  <a:ext uri="{FF2B5EF4-FFF2-40B4-BE49-F238E27FC236}">
                    <a16:creationId xmlns:a16="http://schemas.microsoft.com/office/drawing/2014/main" id="{EDBC8C11-F4E6-6881-A911-4C430F0CFF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40">
                <a:extLst>
                  <a:ext uri="{FF2B5EF4-FFF2-40B4-BE49-F238E27FC236}">
                    <a16:creationId xmlns:a16="http://schemas.microsoft.com/office/drawing/2014/main" id="{B51C137A-9076-9BC0-214E-84B93A8404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1">
                <a:extLst>
                  <a:ext uri="{FF2B5EF4-FFF2-40B4-BE49-F238E27FC236}">
                    <a16:creationId xmlns:a16="http://schemas.microsoft.com/office/drawing/2014/main" id="{443AE86C-2759-3F7A-F52A-D893D44AD1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2">
                <a:extLst>
                  <a:ext uri="{FF2B5EF4-FFF2-40B4-BE49-F238E27FC236}">
                    <a16:creationId xmlns:a16="http://schemas.microsoft.com/office/drawing/2014/main" id="{0B82C187-3C72-29A6-E4DD-81E7C00CB0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3">
                <a:extLst>
                  <a:ext uri="{FF2B5EF4-FFF2-40B4-BE49-F238E27FC236}">
                    <a16:creationId xmlns:a16="http://schemas.microsoft.com/office/drawing/2014/main" id="{3407B949-0DA5-B705-73FF-CF2BE81AEB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4">
                <a:extLst>
                  <a:ext uri="{FF2B5EF4-FFF2-40B4-BE49-F238E27FC236}">
                    <a16:creationId xmlns:a16="http://schemas.microsoft.com/office/drawing/2014/main" id="{2CF5CE41-3904-E6EF-3EE9-63BFC4F755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8" name="Slide edges">
              <a:extLst>
                <a:ext uri="{FF2B5EF4-FFF2-40B4-BE49-F238E27FC236}">
                  <a16:creationId xmlns:a16="http://schemas.microsoft.com/office/drawing/2014/main" id="{86447DE7-68AC-11A1-8153-B26DAF98893A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0" name="Footnote measure">
              <a:extLst>
                <a:ext uri="{FF2B5EF4-FFF2-40B4-BE49-F238E27FC236}">
                  <a16:creationId xmlns:a16="http://schemas.microsoft.com/office/drawing/2014/main" id="{4816E345-1CBB-CF6B-CE1D-BC1FB4D303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8CA9B06E-59F9-BCE6-6E1C-0FAABD4470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D9485732-2F4D-8910-EE9C-3CFFE2247A39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" name="Rectangle 5">
                <a:extLst>
                  <a:ext uri="{FF2B5EF4-FFF2-40B4-BE49-F238E27FC236}">
                    <a16:creationId xmlns:a16="http://schemas.microsoft.com/office/drawing/2014/main" id="{C774C287-5F92-0D28-E206-32A2703076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7">
                <a:extLst>
                  <a:ext uri="{FF2B5EF4-FFF2-40B4-BE49-F238E27FC236}">
                    <a16:creationId xmlns:a16="http://schemas.microsoft.com/office/drawing/2014/main" id="{99136D16-2835-4637-1F38-FF8E34E78A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9">
                <a:extLst>
                  <a:ext uri="{FF2B5EF4-FFF2-40B4-BE49-F238E27FC236}">
                    <a16:creationId xmlns:a16="http://schemas.microsoft.com/office/drawing/2014/main" id="{00699A79-C768-345A-3946-584F733BC0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11">
                <a:extLst>
                  <a:ext uri="{FF2B5EF4-FFF2-40B4-BE49-F238E27FC236}">
                    <a16:creationId xmlns:a16="http://schemas.microsoft.com/office/drawing/2014/main" id="{66BE3BDA-D4ED-B472-3343-E8CEF05F19B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3">
                <a:extLst>
                  <a:ext uri="{FF2B5EF4-FFF2-40B4-BE49-F238E27FC236}">
                    <a16:creationId xmlns:a16="http://schemas.microsoft.com/office/drawing/2014/main" id="{A34C60F4-2A18-83ED-0981-3B623B3CFF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3" name="Live area">
              <a:extLst>
                <a:ext uri="{FF2B5EF4-FFF2-40B4-BE49-F238E27FC236}">
                  <a16:creationId xmlns:a16="http://schemas.microsoft.com/office/drawing/2014/main" id="{CA118CA1-A519-B341-A9BE-F51225D49EC5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CE4D87C4-B568-8CCE-BD9B-83101ECD2443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85498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84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5B1828A-A59E-40CD-699E-66D339FA03F7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99B47FE7-FF64-C1EA-7D45-C734D582FC5B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DBEEBC26-0184-FD2F-31F7-AA4D8F99819B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FD22AA0D-E1DD-91AD-18B0-A710AE44506C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8FCD81D0-902E-48A2-23DC-0AB15F5889FE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96E64603-08E2-7481-DB71-EED38BC3FFB1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E8B17E4E-679A-CF7C-18AD-05B4E0BAC92A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9742D6DB-EF14-8C41-1509-3F93522384CA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653E3CFB-2397-0703-917E-2EB27654D495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9A59F4AB-FD57-E1F3-2FB9-08D3AED6408F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FAD2264E-2F0B-3364-1A2C-0595C152538E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C98629E1-7226-4C9B-1059-DCE0C4A38B36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95E3F0DB-3726-C20B-8207-36963D31F529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C032FE2E-E825-96AB-6029-05DE41F963B1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189AA252-32B1-E063-FEB1-E5A2309F8FE1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D3C4FA80-3ED9-89EC-CF1B-2B1F1EEC85F6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CCC6B577-CD5A-BE76-1C30-08B978382F14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AF4D083F-3C60-B063-C9FE-FDF842851B4C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E05EA398-5FF1-DEF5-FD0A-230718EBC265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A4482FEA-CCD9-CD53-C3F0-779679FFC63D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021E5517-63D1-34C4-80F9-28DCBA6B7A71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A351F8F8-DA41-5F26-EC06-0C8106144133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4196B535-0337-0FF5-C5BA-897D9B934BE4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CA860650-85C2-8121-0225-7228AEA546AB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9" name="Rectangle 34">
                <a:extLst>
                  <a:ext uri="{FF2B5EF4-FFF2-40B4-BE49-F238E27FC236}">
                    <a16:creationId xmlns:a16="http://schemas.microsoft.com/office/drawing/2014/main" id="{E640F909-1917-BA61-1AB5-BB9D88E2A4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35">
                <a:extLst>
                  <a:ext uri="{FF2B5EF4-FFF2-40B4-BE49-F238E27FC236}">
                    <a16:creationId xmlns:a16="http://schemas.microsoft.com/office/drawing/2014/main" id="{96907A77-C931-B1EE-83CF-538F8863BD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36">
                <a:extLst>
                  <a:ext uri="{FF2B5EF4-FFF2-40B4-BE49-F238E27FC236}">
                    <a16:creationId xmlns:a16="http://schemas.microsoft.com/office/drawing/2014/main" id="{353E6642-3E84-A863-DFA3-5F4DF956ED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7">
                <a:extLst>
                  <a:ext uri="{FF2B5EF4-FFF2-40B4-BE49-F238E27FC236}">
                    <a16:creationId xmlns:a16="http://schemas.microsoft.com/office/drawing/2014/main" id="{C8B04C29-B87F-6005-D69B-9722CDB790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8">
                <a:extLst>
                  <a:ext uri="{FF2B5EF4-FFF2-40B4-BE49-F238E27FC236}">
                    <a16:creationId xmlns:a16="http://schemas.microsoft.com/office/drawing/2014/main" id="{4FF97E2E-B561-3D6C-F88F-86241A88B3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9">
                <a:extLst>
                  <a:ext uri="{FF2B5EF4-FFF2-40B4-BE49-F238E27FC236}">
                    <a16:creationId xmlns:a16="http://schemas.microsoft.com/office/drawing/2014/main" id="{3965A995-299E-79FB-EB57-7145E2A01C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0">
                <a:extLst>
                  <a:ext uri="{FF2B5EF4-FFF2-40B4-BE49-F238E27FC236}">
                    <a16:creationId xmlns:a16="http://schemas.microsoft.com/office/drawing/2014/main" id="{EC820FB2-255C-D433-8881-EFE4C1B925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1">
                <a:extLst>
                  <a:ext uri="{FF2B5EF4-FFF2-40B4-BE49-F238E27FC236}">
                    <a16:creationId xmlns:a16="http://schemas.microsoft.com/office/drawing/2014/main" id="{61D2545C-CE39-EAA9-62ED-4A795FFD60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2">
                <a:extLst>
                  <a:ext uri="{FF2B5EF4-FFF2-40B4-BE49-F238E27FC236}">
                    <a16:creationId xmlns:a16="http://schemas.microsoft.com/office/drawing/2014/main" id="{E0C56CF3-4C6F-67E3-3E53-B69EE42CB3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3">
                <a:extLst>
                  <a:ext uri="{FF2B5EF4-FFF2-40B4-BE49-F238E27FC236}">
                    <a16:creationId xmlns:a16="http://schemas.microsoft.com/office/drawing/2014/main" id="{A5BD3267-ABB3-B3D8-0729-DEAF145F07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4">
                <a:extLst>
                  <a:ext uri="{FF2B5EF4-FFF2-40B4-BE49-F238E27FC236}">
                    <a16:creationId xmlns:a16="http://schemas.microsoft.com/office/drawing/2014/main" id="{E3F49E74-2E53-AA5C-FAA3-296FA025FB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E4C26698-E75E-C168-2E7D-04653A18A4F9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" name="Footnote measure">
              <a:extLst>
                <a:ext uri="{FF2B5EF4-FFF2-40B4-BE49-F238E27FC236}">
                  <a16:creationId xmlns:a16="http://schemas.microsoft.com/office/drawing/2014/main" id="{7A5FA4EA-8760-2CB3-036E-88366C2E1A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Whitespace measure">
              <a:extLst>
                <a:ext uri="{FF2B5EF4-FFF2-40B4-BE49-F238E27FC236}">
                  <a16:creationId xmlns:a16="http://schemas.microsoft.com/office/drawing/2014/main" id="{7B7B708B-DA7D-E20F-B62F-7EDCA9A931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Five column measure">
              <a:extLst>
                <a:ext uri="{FF2B5EF4-FFF2-40B4-BE49-F238E27FC236}">
                  <a16:creationId xmlns:a16="http://schemas.microsoft.com/office/drawing/2014/main" id="{D757EE67-9639-1C23-F153-0B821C4D67C6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4" name="Rectangle 5">
                <a:extLst>
                  <a:ext uri="{FF2B5EF4-FFF2-40B4-BE49-F238E27FC236}">
                    <a16:creationId xmlns:a16="http://schemas.microsoft.com/office/drawing/2014/main" id="{137FCACF-4245-6796-E4F3-FDF6BE17E1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Rectangle 7">
                <a:extLst>
                  <a:ext uri="{FF2B5EF4-FFF2-40B4-BE49-F238E27FC236}">
                    <a16:creationId xmlns:a16="http://schemas.microsoft.com/office/drawing/2014/main" id="{E91ADB33-EA55-5C1D-321F-8C2C3DF3A2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9">
                <a:extLst>
                  <a:ext uri="{FF2B5EF4-FFF2-40B4-BE49-F238E27FC236}">
                    <a16:creationId xmlns:a16="http://schemas.microsoft.com/office/drawing/2014/main" id="{3377C076-7326-A985-5417-CB4771A9D0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11">
                <a:extLst>
                  <a:ext uri="{FF2B5EF4-FFF2-40B4-BE49-F238E27FC236}">
                    <a16:creationId xmlns:a16="http://schemas.microsoft.com/office/drawing/2014/main" id="{B15F480A-DE9B-AE35-49F7-F3243538ED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13">
                <a:extLst>
                  <a:ext uri="{FF2B5EF4-FFF2-40B4-BE49-F238E27FC236}">
                    <a16:creationId xmlns:a16="http://schemas.microsoft.com/office/drawing/2014/main" id="{6132E66D-A306-911F-D3AA-953F24AD12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" name="Live area">
              <a:extLst>
                <a:ext uri="{FF2B5EF4-FFF2-40B4-BE49-F238E27FC236}">
                  <a16:creationId xmlns:a16="http://schemas.microsoft.com/office/drawing/2014/main" id="{8D794724-3320-15B4-DD99-BB657105A16A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3" name="Footnote example">
              <a:extLst>
                <a:ext uri="{FF2B5EF4-FFF2-40B4-BE49-F238E27FC236}">
                  <a16:creationId xmlns:a16="http://schemas.microsoft.com/office/drawing/2014/main" id="{A02800AB-01F3-69EF-B604-4EC636AB2379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13000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86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467C178E-BD21-E31B-7F07-7F50CEBB04DC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DEC31955-31DF-6C37-F832-BE0F45B3E71F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E2E8615F-7376-D734-B993-95378E927C94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85C177E7-D17B-0CF1-E1D0-AC69F8474FBE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059655D1-D006-9DD4-F737-F2885D3D2DFE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3D3BD156-5DB9-06E2-EAEE-563F397B6371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B5C6DA80-2942-A5A4-C1A6-38DBC2D3FE2A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C5DEF609-642D-5004-4475-B2423606138F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B508350E-7DE3-E17D-C8DF-E5E96259466D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02E215F8-48BF-AC50-0A8E-BCD8990D5051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A03B243F-5DB6-90C2-551E-575F5188A2B6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6611C8E7-700C-4D88-F4FD-388072A914DC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8AB066E3-205D-371B-0A3D-8D03A82F8106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2630A28D-F9D1-0646-5341-0E2677943435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78A435CC-DAE7-8F5B-4F94-E1F88D26B485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674BEE80-7295-5D08-28A9-ABE467E6F1C1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436116E2-3925-F1F0-0364-E20C350641E8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D1C0F61C-B495-2F76-B33E-4F25F480179B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758FEAB6-0224-6B32-8B11-DC808DFA2863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6509182C-EF63-2B3E-06BB-E440FA6C7319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FB3EF21C-51A9-4210-EEC2-478C639DF9DC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030C3B9E-3118-42D7-B6ED-4D3E4AE8ECD7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CBEBBE8C-2EDA-79D6-6694-3681A14CDA07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630C4A62-B86F-F6DA-8A24-9CD88C012E97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3" name="Rectangle 34">
                <a:extLst>
                  <a:ext uri="{FF2B5EF4-FFF2-40B4-BE49-F238E27FC236}">
                    <a16:creationId xmlns:a16="http://schemas.microsoft.com/office/drawing/2014/main" id="{C77D1AE4-68B4-935E-345F-E0392E0632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5">
                <a:extLst>
                  <a:ext uri="{FF2B5EF4-FFF2-40B4-BE49-F238E27FC236}">
                    <a16:creationId xmlns:a16="http://schemas.microsoft.com/office/drawing/2014/main" id="{801911B6-3852-D591-7F7C-B68F975A52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6">
                <a:extLst>
                  <a:ext uri="{FF2B5EF4-FFF2-40B4-BE49-F238E27FC236}">
                    <a16:creationId xmlns:a16="http://schemas.microsoft.com/office/drawing/2014/main" id="{B6B14D0F-626C-170D-D80F-4E55EBEB78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7">
                <a:extLst>
                  <a:ext uri="{FF2B5EF4-FFF2-40B4-BE49-F238E27FC236}">
                    <a16:creationId xmlns:a16="http://schemas.microsoft.com/office/drawing/2014/main" id="{705A119F-0187-714D-8F28-A5DDA48528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8">
                <a:extLst>
                  <a:ext uri="{FF2B5EF4-FFF2-40B4-BE49-F238E27FC236}">
                    <a16:creationId xmlns:a16="http://schemas.microsoft.com/office/drawing/2014/main" id="{C4A5159C-1F34-5CB2-6A5B-5B76AAAA92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39">
                <a:extLst>
                  <a:ext uri="{FF2B5EF4-FFF2-40B4-BE49-F238E27FC236}">
                    <a16:creationId xmlns:a16="http://schemas.microsoft.com/office/drawing/2014/main" id="{A50B4863-4488-C02C-BAC5-2521BF6998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0">
                <a:extLst>
                  <a:ext uri="{FF2B5EF4-FFF2-40B4-BE49-F238E27FC236}">
                    <a16:creationId xmlns:a16="http://schemas.microsoft.com/office/drawing/2014/main" id="{B6DA4EDE-B4A0-94F6-1375-4915562C18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1">
                <a:extLst>
                  <a:ext uri="{FF2B5EF4-FFF2-40B4-BE49-F238E27FC236}">
                    <a16:creationId xmlns:a16="http://schemas.microsoft.com/office/drawing/2014/main" id="{E178A407-8222-6843-DFE4-56F6A74FCB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2">
                <a:extLst>
                  <a:ext uri="{FF2B5EF4-FFF2-40B4-BE49-F238E27FC236}">
                    <a16:creationId xmlns:a16="http://schemas.microsoft.com/office/drawing/2014/main" id="{1407CDDC-59F7-D792-57DD-E9EA9E4D4A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3">
                <a:extLst>
                  <a:ext uri="{FF2B5EF4-FFF2-40B4-BE49-F238E27FC236}">
                    <a16:creationId xmlns:a16="http://schemas.microsoft.com/office/drawing/2014/main" id="{46466C8F-697B-920E-365C-BCCD94A1AA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44">
                <a:extLst>
                  <a:ext uri="{FF2B5EF4-FFF2-40B4-BE49-F238E27FC236}">
                    <a16:creationId xmlns:a16="http://schemas.microsoft.com/office/drawing/2014/main" id="{2978EDB6-9EB5-21BA-D57E-DCDE9355D6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B443A2B3-3408-7A27-811D-AC7B00C96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" name="Footnote measure">
              <a:extLst>
                <a:ext uri="{FF2B5EF4-FFF2-40B4-BE49-F238E27FC236}">
                  <a16:creationId xmlns:a16="http://schemas.microsoft.com/office/drawing/2014/main" id="{DC2C4386-1272-69CD-8A96-297ED78887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Whitespace measure">
              <a:extLst>
                <a:ext uri="{FF2B5EF4-FFF2-40B4-BE49-F238E27FC236}">
                  <a16:creationId xmlns:a16="http://schemas.microsoft.com/office/drawing/2014/main" id="{3DD15BA5-9657-ABB3-8ADE-82C00CA00D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Five column measure">
              <a:extLst>
                <a:ext uri="{FF2B5EF4-FFF2-40B4-BE49-F238E27FC236}">
                  <a16:creationId xmlns:a16="http://schemas.microsoft.com/office/drawing/2014/main" id="{9127EA8D-2941-4C05-5277-2BC549737DE3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" name="Rectangle 5">
                <a:extLst>
                  <a:ext uri="{FF2B5EF4-FFF2-40B4-BE49-F238E27FC236}">
                    <a16:creationId xmlns:a16="http://schemas.microsoft.com/office/drawing/2014/main" id="{0266A4A8-BC96-89A0-440C-219C940944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7">
                <a:extLst>
                  <a:ext uri="{FF2B5EF4-FFF2-40B4-BE49-F238E27FC236}">
                    <a16:creationId xmlns:a16="http://schemas.microsoft.com/office/drawing/2014/main" id="{565E4EB2-4E39-22AD-AF90-438E2245F8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9">
                <a:extLst>
                  <a:ext uri="{FF2B5EF4-FFF2-40B4-BE49-F238E27FC236}">
                    <a16:creationId xmlns:a16="http://schemas.microsoft.com/office/drawing/2014/main" id="{CFAFB6CA-2A12-8045-1C09-2DAF0B2AE3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1">
                <a:extLst>
                  <a:ext uri="{FF2B5EF4-FFF2-40B4-BE49-F238E27FC236}">
                    <a16:creationId xmlns:a16="http://schemas.microsoft.com/office/drawing/2014/main" id="{96C9CB9C-DE36-74EF-6B76-0F4A816D0E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13">
                <a:extLst>
                  <a:ext uri="{FF2B5EF4-FFF2-40B4-BE49-F238E27FC236}">
                    <a16:creationId xmlns:a16="http://schemas.microsoft.com/office/drawing/2014/main" id="{232BA35F-1441-FEDD-5BFD-E9EE441B7F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" name="Live area">
              <a:extLst>
                <a:ext uri="{FF2B5EF4-FFF2-40B4-BE49-F238E27FC236}">
                  <a16:creationId xmlns:a16="http://schemas.microsoft.com/office/drawing/2014/main" id="{86173CD9-EFD7-DC4A-DFDA-293573F998AF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7DC5F2E3-F54D-2BA6-256D-7EC71A1EAE27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0822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89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E09DDF5-7BEE-FB7E-1D16-8517B4B8244F}"/>
              </a:ext>
            </a:extLst>
          </p:cNvPr>
          <p:cNvGrpSpPr/>
          <p:nvPr userDrawn="1">
            <p:custDataLst>
              <p:tags r:id="rId4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" name="No fly zone">
              <a:extLst>
                <a:ext uri="{FF2B5EF4-FFF2-40B4-BE49-F238E27FC236}">
                  <a16:creationId xmlns:a16="http://schemas.microsoft.com/office/drawing/2014/main" id="{2C3A21F0-68E3-8148-1276-1EF57A12F52F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6" name="Baselines / anchors">
              <a:extLst>
                <a:ext uri="{FF2B5EF4-FFF2-40B4-BE49-F238E27FC236}">
                  <a16:creationId xmlns:a16="http://schemas.microsoft.com/office/drawing/2014/main" id="{42D0B4E3-810D-B73A-2B67-68F613C13A1A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6CD96001-9DA7-7CED-7B3D-3E5189B81622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D2D98F42-C862-3D39-9444-EB74CAD4ED7E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39B610C8-0657-6E48-3B1F-11E95D22B866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5174364D-46C2-DC3E-CF95-A8FF4D5F3770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CD5F7131-4C06-7CDC-792D-A4A90C115759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43ADA474-FA69-BDFC-2513-E98773E2B52D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25A3B666-BEDC-0033-1E37-D180F52538DA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AE6FAB29-B77F-25AB-89C8-74033FDBC635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3CC94C0A-5E0F-7AD6-C5E4-834073972AB5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021AC8C3-3FD3-44B4-C1BC-49601C135465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A583AD30-E218-C03A-556D-81BC0FD52ECA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E023BB95-7699-42FE-128A-404242310086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2FC9AC61-00DF-E249-3B4F-EC8F5D239404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DBAC5349-B435-893B-8DA3-95AAA0198333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DC7CE99E-8481-58CD-81F1-A42CAC4F0E39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90366BF8-23EA-2E00-7C3A-BE1EA0E3D1A7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16649B0B-3AD9-0AAE-B9AB-9F8AEE7501A6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BD227E0C-ECA0-2F40-1C21-AB58228C87AF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3555CC39-FB88-5D11-613A-4B6FDC8F253E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59563AC1-622D-81D7-6432-03BB0B87D834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utter space">
              <a:extLst>
                <a:ext uri="{FF2B5EF4-FFF2-40B4-BE49-F238E27FC236}">
                  <a16:creationId xmlns:a16="http://schemas.microsoft.com/office/drawing/2014/main" id="{07FD7839-9DD5-17B5-CCF9-E9F2053BDE66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3" name="Rectangle 34">
                <a:extLst>
                  <a:ext uri="{FF2B5EF4-FFF2-40B4-BE49-F238E27FC236}">
                    <a16:creationId xmlns:a16="http://schemas.microsoft.com/office/drawing/2014/main" id="{4C44F8D9-2BBA-5992-70D7-0AF08F745A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5">
                <a:extLst>
                  <a:ext uri="{FF2B5EF4-FFF2-40B4-BE49-F238E27FC236}">
                    <a16:creationId xmlns:a16="http://schemas.microsoft.com/office/drawing/2014/main" id="{B26E7CBB-BD1B-2591-1B38-46565AB4AE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6">
                <a:extLst>
                  <a:ext uri="{FF2B5EF4-FFF2-40B4-BE49-F238E27FC236}">
                    <a16:creationId xmlns:a16="http://schemas.microsoft.com/office/drawing/2014/main" id="{5C79C650-3FBB-D788-0440-7BBAD099D5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7">
                <a:extLst>
                  <a:ext uri="{FF2B5EF4-FFF2-40B4-BE49-F238E27FC236}">
                    <a16:creationId xmlns:a16="http://schemas.microsoft.com/office/drawing/2014/main" id="{1890EE11-2A9A-064B-324A-6524FCCDE1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8">
                <a:extLst>
                  <a:ext uri="{FF2B5EF4-FFF2-40B4-BE49-F238E27FC236}">
                    <a16:creationId xmlns:a16="http://schemas.microsoft.com/office/drawing/2014/main" id="{2FAB96C0-6DC8-9277-9AF0-5BDADCDD71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39">
                <a:extLst>
                  <a:ext uri="{FF2B5EF4-FFF2-40B4-BE49-F238E27FC236}">
                    <a16:creationId xmlns:a16="http://schemas.microsoft.com/office/drawing/2014/main" id="{F7C5EE06-224C-737D-D14C-B991FBCFFC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0">
                <a:extLst>
                  <a:ext uri="{FF2B5EF4-FFF2-40B4-BE49-F238E27FC236}">
                    <a16:creationId xmlns:a16="http://schemas.microsoft.com/office/drawing/2014/main" id="{5F6346EE-A5EF-0FA8-B13E-648AF574B0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1">
                <a:extLst>
                  <a:ext uri="{FF2B5EF4-FFF2-40B4-BE49-F238E27FC236}">
                    <a16:creationId xmlns:a16="http://schemas.microsoft.com/office/drawing/2014/main" id="{D40E655F-8839-440A-3F9F-D6DAD3E9F4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2">
                <a:extLst>
                  <a:ext uri="{FF2B5EF4-FFF2-40B4-BE49-F238E27FC236}">
                    <a16:creationId xmlns:a16="http://schemas.microsoft.com/office/drawing/2014/main" id="{260FBBD6-664A-C079-C87D-A85052E6D9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3">
                <a:extLst>
                  <a:ext uri="{FF2B5EF4-FFF2-40B4-BE49-F238E27FC236}">
                    <a16:creationId xmlns:a16="http://schemas.microsoft.com/office/drawing/2014/main" id="{43D21E28-192A-EDDE-C3C8-66FFCE03C4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44">
                <a:extLst>
                  <a:ext uri="{FF2B5EF4-FFF2-40B4-BE49-F238E27FC236}">
                    <a16:creationId xmlns:a16="http://schemas.microsoft.com/office/drawing/2014/main" id="{914CDB03-3353-E170-FCDA-38C0399B8E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9" name="Slide edges">
              <a:extLst>
                <a:ext uri="{FF2B5EF4-FFF2-40B4-BE49-F238E27FC236}">
                  <a16:creationId xmlns:a16="http://schemas.microsoft.com/office/drawing/2014/main" id="{C4868C00-5B5F-AB3B-1480-443715237D64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3" name="Footnote measure">
              <a:extLst>
                <a:ext uri="{FF2B5EF4-FFF2-40B4-BE49-F238E27FC236}">
                  <a16:creationId xmlns:a16="http://schemas.microsoft.com/office/drawing/2014/main" id="{513B5880-4B61-F7E2-5ADB-9A825C5908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Whitespace measure">
              <a:extLst>
                <a:ext uri="{FF2B5EF4-FFF2-40B4-BE49-F238E27FC236}">
                  <a16:creationId xmlns:a16="http://schemas.microsoft.com/office/drawing/2014/main" id="{710867EA-347F-99AA-A7D1-F4C5DB16A4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5" name="Five column measure">
              <a:extLst>
                <a:ext uri="{FF2B5EF4-FFF2-40B4-BE49-F238E27FC236}">
                  <a16:creationId xmlns:a16="http://schemas.microsoft.com/office/drawing/2014/main" id="{765391C0-4E4E-27B3-5BAB-5C695E291B71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8" name="Rectangle 5">
                <a:extLst>
                  <a:ext uri="{FF2B5EF4-FFF2-40B4-BE49-F238E27FC236}">
                    <a16:creationId xmlns:a16="http://schemas.microsoft.com/office/drawing/2014/main" id="{A8E74B6B-11B2-F9DE-4D13-E0900D21E8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7">
                <a:extLst>
                  <a:ext uri="{FF2B5EF4-FFF2-40B4-BE49-F238E27FC236}">
                    <a16:creationId xmlns:a16="http://schemas.microsoft.com/office/drawing/2014/main" id="{BD9B0AC5-8A01-9D5F-D9CD-F102050F32B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9">
                <a:extLst>
                  <a:ext uri="{FF2B5EF4-FFF2-40B4-BE49-F238E27FC236}">
                    <a16:creationId xmlns:a16="http://schemas.microsoft.com/office/drawing/2014/main" id="{2A43F3B2-DEE9-1CE7-1FC2-FD2EA22D31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1">
                <a:extLst>
                  <a:ext uri="{FF2B5EF4-FFF2-40B4-BE49-F238E27FC236}">
                    <a16:creationId xmlns:a16="http://schemas.microsoft.com/office/drawing/2014/main" id="{FB066991-483A-B30A-C339-6DA5546091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13">
                <a:extLst>
                  <a:ext uri="{FF2B5EF4-FFF2-40B4-BE49-F238E27FC236}">
                    <a16:creationId xmlns:a16="http://schemas.microsoft.com/office/drawing/2014/main" id="{ACA0975A-B622-ED70-6CAA-E35C4C0D41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6" name="Live area">
              <a:extLst>
                <a:ext uri="{FF2B5EF4-FFF2-40B4-BE49-F238E27FC236}">
                  <a16:creationId xmlns:a16="http://schemas.microsoft.com/office/drawing/2014/main" id="{41E4808F-B1F1-A011-00A1-1E85D02E6AAF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7" name="Footnote example">
              <a:extLst>
                <a:ext uri="{FF2B5EF4-FFF2-40B4-BE49-F238E27FC236}">
                  <a16:creationId xmlns:a16="http://schemas.microsoft.com/office/drawing/2014/main" id="{FEACC7DF-922F-32D8-5222-3618589D3F27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47024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9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45F94EF-0588-C0D5-A93C-A0642A1DD1C5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07421FEB-0FA9-B95B-BAC6-6AC06B536EDA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DCD75139-7CA4-C9B1-D35F-FA009F66942B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58DED5DA-1C36-BC11-FFB7-EB59007C0CDC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BDB7AD15-E84F-D9CD-83EE-E420590D68A2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859FEE5A-23B6-C5CD-7270-1EC30BC50E09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124BBDC0-B248-7BE7-7033-1C4AAC63A44F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FF48BE53-44F0-D443-EDBE-35C0E72FF16F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712C2D54-42A8-3100-EC84-F8FC69189D96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37844D04-19E9-5D89-122A-14F43A445E86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5EB3B2EE-B085-F95C-8933-5DFC7A7EBE23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5046DF8F-47FC-757E-591D-7E746F800D1C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6AA98595-79FF-5F83-0716-D2B646C371D6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E46D8E64-8786-6054-78E8-96ED078268F7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B61F9A8C-317A-7D74-3A90-C57D5FED0235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EABF75F4-CFAE-A4DC-8AB6-5195E028B30F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2FDD0C1C-EA6C-56FB-C594-8E2860F3ACB0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5189EA26-BE77-3C3F-855E-BF00FEF4A88A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3B7AEC07-F104-CB64-9EB2-82C3EC95536E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9961777B-0411-1987-06A3-A1E3D5B09D00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45D47434-BAD7-EB6C-A55C-701AAC3784D1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18B2BDD4-C088-F4AE-BAE7-E9DC467B3F76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6D66E9AE-0DA8-E29D-5042-850DF4AE129C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9213FE30-5E20-26E5-D9D7-B01F2AF4A649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1" name="Rectangle 34">
                <a:extLst>
                  <a:ext uri="{FF2B5EF4-FFF2-40B4-BE49-F238E27FC236}">
                    <a16:creationId xmlns:a16="http://schemas.microsoft.com/office/drawing/2014/main" id="{C9254A54-8B79-9D57-20E7-FDB44CBF5C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5">
                <a:extLst>
                  <a:ext uri="{FF2B5EF4-FFF2-40B4-BE49-F238E27FC236}">
                    <a16:creationId xmlns:a16="http://schemas.microsoft.com/office/drawing/2014/main" id="{0C68CA10-37FC-9B63-A886-1CB309F69A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6">
                <a:extLst>
                  <a:ext uri="{FF2B5EF4-FFF2-40B4-BE49-F238E27FC236}">
                    <a16:creationId xmlns:a16="http://schemas.microsoft.com/office/drawing/2014/main" id="{B6F60B7F-3E49-CB80-E548-E719253A4A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7">
                <a:extLst>
                  <a:ext uri="{FF2B5EF4-FFF2-40B4-BE49-F238E27FC236}">
                    <a16:creationId xmlns:a16="http://schemas.microsoft.com/office/drawing/2014/main" id="{B534002A-C1B1-6E4D-505F-007BC4E267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8">
                <a:extLst>
                  <a:ext uri="{FF2B5EF4-FFF2-40B4-BE49-F238E27FC236}">
                    <a16:creationId xmlns:a16="http://schemas.microsoft.com/office/drawing/2014/main" id="{7D0A32BB-A673-8716-F60A-602E298953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9">
                <a:extLst>
                  <a:ext uri="{FF2B5EF4-FFF2-40B4-BE49-F238E27FC236}">
                    <a16:creationId xmlns:a16="http://schemas.microsoft.com/office/drawing/2014/main" id="{A0A33FC2-8859-B7AA-4B29-72681890AE8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0">
                <a:extLst>
                  <a:ext uri="{FF2B5EF4-FFF2-40B4-BE49-F238E27FC236}">
                    <a16:creationId xmlns:a16="http://schemas.microsoft.com/office/drawing/2014/main" id="{2C189E3B-3A29-BC9D-27A8-6AE7FB998F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1">
                <a:extLst>
                  <a:ext uri="{FF2B5EF4-FFF2-40B4-BE49-F238E27FC236}">
                    <a16:creationId xmlns:a16="http://schemas.microsoft.com/office/drawing/2014/main" id="{C4A5A442-8975-BB7E-37AC-5386C568AC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2">
                <a:extLst>
                  <a:ext uri="{FF2B5EF4-FFF2-40B4-BE49-F238E27FC236}">
                    <a16:creationId xmlns:a16="http://schemas.microsoft.com/office/drawing/2014/main" id="{33185DFA-571A-306B-726E-6B5257D92C8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3">
                <a:extLst>
                  <a:ext uri="{FF2B5EF4-FFF2-40B4-BE49-F238E27FC236}">
                    <a16:creationId xmlns:a16="http://schemas.microsoft.com/office/drawing/2014/main" id="{27B9B8D2-1FAD-01F3-5E35-C21C9A7235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4">
                <a:extLst>
                  <a:ext uri="{FF2B5EF4-FFF2-40B4-BE49-F238E27FC236}">
                    <a16:creationId xmlns:a16="http://schemas.microsoft.com/office/drawing/2014/main" id="{DD4BD285-65FC-D23C-7578-A24AF3C4A3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8" name="Slide edges">
              <a:extLst>
                <a:ext uri="{FF2B5EF4-FFF2-40B4-BE49-F238E27FC236}">
                  <a16:creationId xmlns:a16="http://schemas.microsoft.com/office/drawing/2014/main" id="{7A21B11D-6D60-FBE4-D852-BDA079B91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:a16="http://schemas.microsoft.com/office/drawing/2014/main" id="{F88ED3CA-545B-FEAA-8B32-FBB96433FB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567D6F40-E8AB-CECC-548F-7506BD3166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B57FF4E7-8902-6B4A-1FB0-672431B1E236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6" name="Rectangle 5">
                <a:extLst>
                  <a:ext uri="{FF2B5EF4-FFF2-40B4-BE49-F238E27FC236}">
                    <a16:creationId xmlns:a16="http://schemas.microsoft.com/office/drawing/2014/main" id="{84DA64E9-FE5E-BD73-AC33-3383F9EB1E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7">
                <a:extLst>
                  <a:ext uri="{FF2B5EF4-FFF2-40B4-BE49-F238E27FC236}">
                    <a16:creationId xmlns:a16="http://schemas.microsoft.com/office/drawing/2014/main" id="{C132C1B7-342C-FAA6-1C97-CB2D581646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9">
                <a:extLst>
                  <a:ext uri="{FF2B5EF4-FFF2-40B4-BE49-F238E27FC236}">
                    <a16:creationId xmlns:a16="http://schemas.microsoft.com/office/drawing/2014/main" id="{9894540D-6887-AC2A-8AA7-75A1EB9593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1">
                <a:extLst>
                  <a:ext uri="{FF2B5EF4-FFF2-40B4-BE49-F238E27FC236}">
                    <a16:creationId xmlns:a16="http://schemas.microsoft.com/office/drawing/2014/main" id="{D5BD4D21-4097-9C3B-A4B9-4735E1E01A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3">
                <a:extLst>
                  <a:ext uri="{FF2B5EF4-FFF2-40B4-BE49-F238E27FC236}">
                    <a16:creationId xmlns:a16="http://schemas.microsoft.com/office/drawing/2014/main" id="{513BC58A-C179-C97F-5715-877DFF01C9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4" name="Live area">
              <a:extLst>
                <a:ext uri="{FF2B5EF4-FFF2-40B4-BE49-F238E27FC236}">
                  <a16:creationId xmlns:a16="http://schemas.microsoft.com/office/drawing/2014/main" id="{6BDD3344-88AD-406C-C28C-65D123FA5387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5" name="Footnote example">
              <a:extLst>
                <a:ext uri="{FF2B5EF4-FFF2-40B4-BE49-F238E27FC236}">
                  <a16:creationId xmlns:a16="http://schemas.microsoft.com/office/drawing/2014/main" id="{9AD1E8EE-449C-CAB4-BE9F-872A22B4FF8D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6203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9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F3CF4DB7-900C-67C3-E6A5-00288864B991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0BBCACAA-614E-79F1-0C78-B105472FC1A2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ADD43290-0EBA-7073-2451-340D9549B050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A53C6C20-5F59-B768-A278-B0CE4D667866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E29F3981-7C69-8D48-852C-81FC95EEDC34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F3669F1C-7BA1-7113-4095-DADF9E7E479A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01FF6FAF-FD0B-FAA2-2DCE-53C27A94B827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2836FBFD-A383-CB5A-A5AA-03C3509C31EE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D98033C0-1707-57EC-620D-53E90A5C9777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E116E1BB-45D1-DF19-2E49-2AEF82966E1B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6C2CD1B4-9AF1-B9EB-D7AD-1FB9A9EF8F50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370990AB-55F7-8689-AC12-C68F7FB5C2C8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7D97149B-DC57-FA66-32DC-72CFD13ADFC2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C4258D42-30AC-C426-4E51-BF49FC459D7E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F67D0418-8B85-024A-FD45-7BBA337E32AB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6E699182-FE1B-8E05-6015-98F0EAAAB5DC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2B6D978C-2A26-ABB0-206C-28772C9A46FC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0FEA6708-6248-69EF-DD41-6EED9A6E7BAD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7BCE93FD-E56D-C97B-BE37-9BF5A2362DFD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8E014428-549A-0FCE-C27F-0335497094E3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01B48CB9-4FA8-F083-56B8-F7214C686C24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9E8B9CA4-EBD7-F195-3B3E-7CD809C8C338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3DF53009-4AD8-65AC-5352-8EDEA7E0D072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AC01F86D-CE26-7E58-8519-C7DF689412CC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1" name="Rectangle 34">
                <a:extLst>
                  <a:ext uri="{FF2B5EF4-FFF2-40B4-BE49-F238E27FC236}">
                    <a16:creationId xmlns:a16="http://schemas.microsoft.com/office/drawing/2014/main" id="{536EDB08-5627-0FC2-6770-527939B4E4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5">
                <a:extLst>
                  <a:ext uri="{FF2B5EF4-FFF2-40B4-BE49-F238E27FC236}">
                    <a16:creationId xmlns:a16="http://schemas.microsoft.com/office/drawing/2014/main" id="{4B717948-127E-675A-08B3-F5722E225C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6">
                <a:extLst>
                  <a:ext uri="{FF2B5EF4-FFF2-40B4-BE49-F238E27FC236}">
                    <a16:creationId xmlns:a16="http://schemas.microsoft.com/office/drawing/2014/main" id="{AC3BC91A-1E96-D50B-08F9-6EB6A578FC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7">
                <a:extLst>
                  <a:ext uri="{FF2B5EF4-FFF2-40B4-BE49-F238E27FC236}">
                    <a16:creationId xmlns:a16="http://schemas.microsoft.com/office/drawing/2014/main" id="{CB011B3C-2E05-D565-6136-B617FE3894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8">
                <a:extLst>
                  <a:ext uri="{FF2B5EF4-FFF2-40B4-BE49-F238E27FC236}">
                    <a16:creationId xmlns:a16="http://schemas.microsoft.com/office/drawing/2014/main" id="{FFA78B39-850B-AAE7-B576-72EA29DB52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9">
                <a:extLst>
                  <a:ext uri="{FF2B5EF4-FFF2-40B4-BE49-F238E27FC236}">
                    <a16:creationId xmlns:a16="http://schemas.microsoft.com/office/drawing/2014/main" id="{371DE576-3F04-347C-ECC3-F95B121D5F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0">
                <a:extLst>
                  <a:ext uri="{FF2B5EF4-FFF2-40B4-BE49-F238E27FC236}">
                    <a16:creationId xmlns:a16="http://schemas.microsoft.com/office/drawing/2014/main" id="{49CFD4E8-E505-E552-668E-5AE20E1A54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1">
                <a:extLst>
                  <a:ext uri="{FF2B5EF4-FFF2-40B4-BE49-F238E27FC236}">
                    <a16:creationId xmlns:a16="http://schemas.microsoft.com/office/drawing/2014/main" id="{C27F9B99-5C8B-B6ED-2AD0-5B017085EC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2">
                <a:extLst>
                  <a:ext uri="{FF2B5EF4-FFF2-40B4-BE49-F238E27FC236}">
                    <a16:creationId xmlns:a16="http://schemas.microsoft.com/office/drawing/2014/main" id="{E6DE9E54-ABF2-75D4-58C4-407A0DA6F5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3">
                <a:extLst>
                  <a:ext uri="{FF2B5EF4-FFF2-40B4-BE49-F238E27FC236}">
                    <a16:creationId xmlns:a16="http://schemas.microsoft.com/office/drawing/2014/main" id="{1A9FFE4B-CF8F-DE7B-AC1C-DDD2870903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4">
                <a:extLst>
                  <a:ext uri="{FF2B5EF4-FFF2-40B4-BE49-F238E27FC236}">
                    <a16:creationId xmlns:a16="http://schemas.microsoft.com/office/drawing/2014/main" id="{8369A417-5497-93EE-0F6C-8BC2BAD19E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8" name="Slide edges">
              <a:extLst>
                <a:ext uri="{FF2B5EF4-FFF2-40B4-BE49-F238E27FC236}">
                  <a16:creationId xmlns:a16="http://schemas.microsoft.com/office/drawing/2014/main" id="{129CD5F4-D2E4-B1CA-C07C-7C7E0FEE0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:a16="http://schemas.microsoft.com/office/drawing/2014/main" id="{2A8791C8-B5BB-8C8C-0F46-19783FFFC9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5F24FF71-2124-D6F4-F7D8-89B3204BE3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B4B9845E-0600-B932-89D0-8FB5623D8A9F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6" name="Rectangle 5">
                <a:extLst>
                  <a:ext uri="{FF2B5EF4-FFF2-40B4-BE49-F238E27FC236}">
                    <a16:creationId xmlns:a16="http://schemas.microsoft.com/office/drawing/2014/main" id="{270ACF73-7F25-F288-3C04-4424AAEAAA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7">
                <a:extLst>
                  <a:ext uri="{FF2B5EF4-FFF2-40B4-BE49-F238E27FC236}">
                    <a16:creationId xmlns:a16="http://schemas.microsoft.com/office/drawing/2014/main" id="{BCFE32AA-0171-A14F-0222-757C301D43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9">
                <a:extLst>
                  <a:ext uri="{FF2B5EF4-FFF2-40B4-BE49-F238E27FC236}">
                    <a16:creationId xmlns:a16="http://schemas.microsoft.com/office/drawing/2014/main" id="{14BCD392-9AC2-6739-22A9-6112FEF6F1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1">
                <a:extLst>
                  <a:ext uri="{FF2B5EF4-FFF2-40B4-BE49-F238E27FC236}">
                    <a16:creationId xmlns:a16="http://schemas.microsoft.com/office/drawing/2014/main" id="{A7CA1E84-4B1D-0DAA-E281-6350FFABE1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3">
                <a:extLst>
                  <a:ext uri="{FF2B5EF4-FFF2-40B4-BE49-F238E27FC236}">
                    <a16:creationId xmlns:a16="http://schemas.microsoft.com/office/drawing/2014/main" id="{D55F609B-3276-5213-7BB0-0B52FFA19D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4" name="Live area">
              <a:extLst>
                <a:ext uri="{FF2B5EF4-FFF2-40B4-BE49-F238E27FC236}">
                  <a16:creationId xmlns:a16="http://schemas.microsoft.com/office/drawing/2014/main" id="{C2198F39-151E-8097-5B32-690C38831A62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5" name="Footnote example">
              <a:extLst>
                <a:ext uri="{FF2B5EF4-FFF2-40B4-BE49-F238E27FC236}">
                  <a16:creationId xmlns:a16="http://schemas.microsoft.com/office/drawing/2014/main" id="{57B29B6D-E8C3-1838-5C50-584DE99BAF6F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84159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61EA6B5-6AA4-B156-2CDB-6D9C0D598F80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6D803527-7BFD-E749-5961-4078D2EF653D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70507C50-649E-2806-1E54-7FDF559B3D55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B436A559-F409-8F5C-FB2A-51574787489B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1B8A863D-F02F-C142-37D1-112EEF17F9DC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787460D4-F623-97BA-B8B8-76882A9E9BEB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6D02915E-225E-73E2-672E-054D13E31825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8FD849DB-EA52-7CD3-041F-80546A373EC4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3FA1AD52-DD84-E354-B420-525025AD0780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A6AF007C-AD7C-6C9F-CF49-FECE0B51773E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CA096B33-C1D9-2E6C-11C2-177673C15E0F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E0E81DC1-4A8B-51D3-2AA8-CED268631F2E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772477A1-D0DC-5FCA-B12A-0FFDABD6BC12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914710CA-96A1-827E-DCE2-45B9E63BB7FB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B5A239E7-ECA3-D9BE-14F9-66A3A6AA1C6D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ED6A8EA2-C307-32CE-105A-2D76880593CD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17F84D88-C810-2E6C-B6B6-53FFAA44523B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FDBA7092-EDA5-4ABD-A1D0-7D0EE8731841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D6D6D5A1-8354-F18F-BB69-0885015576F2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1FBB3BAF-E60C-1EE7-7653-7F0E691D41A6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3A0277DF-A1B9-0F1B-6ABE-A99C20E5A4C8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A7ECD1A5-8AE3-8342-8EE2-E8B7F1867243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96A3FBD5-1D7A-91D9-20BA-9A2C6992D923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F46D674E-6DA9-194B-2E59-30A2EC54ED05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2" name="Rectangle 34">
                <a:extLst>
                  <a:ext uri="{FF2B5EF4-FFF2-40B4-BE49-F238E27FC236}">
                    <a16:creationId xmlns:a16="http://schemas.microsoft.com/office/drawing/2014/main" id="{F311491D-6CFF-E950-E794-D12655EE4A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5">
                <a:extLst>
                  <a:ext uri="{FF2B5EF4-FFF2-40B4-BE49-F238E27FC236}">
                    <a16:creationId xmlns:a16="http://schemas.microsoft.com/office/drawing/2014/main" id="{2684744F-A934-3421-1F48-0EE397C9A6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6">
                <a:extLst>
                  <a:ext uri="{FF2B5EF4-FFF2-40B4-BE49-F238E27FC236}">
                    <a16:creationId xmlns:a16="http://schemas.microsoft.com/office/drawing/2014/main" id="{594E36C0-5021-F56A-DDC4-D02FA14A3B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7">
                <a:extLst>
                  <a:ext uri="{FF2B5EF4-FFF2-40B4-BE49-F238E27FC236}">
                    <a16:creationId xmlns:a16="http://schemas.microsoft.com/office/drawing/2014/main" id="{3538D9C6-9E24-B5C6-DE7E-35325F625F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8">
                <a:extLst>
                  <a:ext uri="{FF2B5EF4-FFF2-40B4-BE49-F238E27FC236}">
                    <a16:creationId xmlns:a16="http://schemas.microsoft.com/office/drawing/2014/main" id="{3BBFF261-956D-4DF7-06CE-A5BF2B6C6B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9">
                <a:extLst>
                  <a:ext uri="{FF2B5EF4-FFF2-40B4-BE49-F238E27FC236}">
                    <a16:creationId xmlns:a16="http://schemas.microsoft.com/office/drawing/2014/main" id="{70C3D369-A0F9-D535-1217-3698554F59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0">
                <a:extLst>
                  <a:ext uri="{FF2B5EF4-FFF2-40B4-BE49-F238E27FC236}">
                    <a16:creationId xmlns:a16="http://schemas.microsoft.com/office/drawing/2014/main" id="{C804370A-1D55-7401-FA6B-E926CFA321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1">
                <a:extLst>
                  <a:ext uri="{FF2B5EF4-FFF2-40B4-BE49-F238E27FC236}">
                    <a16:creationId xmlns:a16="http://schemas.microsoft.com/office/drawing/2014/main" id="{4C5A1EEC-FDAF-D758-228C-3705D21D00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2">
                <a:extLst>
                  <a:ext uri="{FF2B5EF4-FFF2-40B4-BE49-F238E27FC236}">
                    <a16:creationId xmlns:a16="http://schemas.microsoft.com/office/drawing/2014/main" id="{540E15B7-2217-3765-66D5-00095E726F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3">
                <a:extLst>
                  <a:ext uri="{FF2B5EF4-FFF2-40B4-BE49-F238E27FC236}">
                    <a16:creationId xmlns:a16="http://schemas.microsoft.com/office/drawing/2014/main" id="{F0904698-3C4D-2C94-7D51-AD024076D5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4">
                <a:extLst>
                  <a:ext uri="{FF2B5EF4-FFF2-40B4-BE49-F238E27FC236}">
                    <a16:creationId xmlns:a16="http://schemas.microsoft.com/office/drawing/2014/main" id="{CE0E4472-4F13-DD26-17F9-0F067E18DA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E9ED92AD-8718-3161-7444-56237FF22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" name="Footnote measure">
              <a:extLst>
                <a:ext uri="{FF2B5EF4-FFF2-40B4-BE49-F238E27FC236}">
                  <a16:creationId xmlns:a16="http://schemas.microsoft.com/office/drawing/2014/main" id="{09F34688-B5B6-2736-4596-B28AE619A7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Whitespace measure">
              <a:extLst>
                <a:ext uri="{FF2B5EF4-FFF2-40B4-BE49-F238E27FC236}">
                  <a16:creationId xmlns:a16="http://schemas.microsoft.com/office/drawing/2014/main" id="{73A1A4F2-DBF2-2904-1A46-F9A6F3869C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Five column measure">
              <a:extLst>
                <a:ext uri="{FF2B5EF4-FFF2-40B4-BE49-F238E27FC236}">
                  <a16:creationId xmlns:a16="http://schemas.microsoft.com/office/drawing/2014/main" id="{96A696AC-B64B-2A0D-091C-72A9401D8193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6" name="Rectangle 5">
                <a:extLst>
                  <a:ext uri="{FF2B5EF4-FFF2-40B4-BE49-F238E27FC236}">
                    <a16:creationId xmlns:a16="http://schemas.microsoft.com/office/drawing/2014/main" id="{F3FF0F49-41F9-B12B-7DE7-24E4B7D86A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7">
                <a:extLst>
                  <a:ext uri="{FF2B5EF4-FFF2-40B4-BE49-F238E27FC236}">
                    <a16:creationId xmlns:a16="http://schemas.microsoft.com/office/drawing/2014/main" id="{B28EDC46-A587-DA89-4912-28FBEA0433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9">
                <a:extLst>
                  <a:ext uri="{FF2B5EF4-FFF2-40B4-BE49-F238E27FC236}">
                    <a16:creationId xmlns:a16="http://schemas.microsoft.com/office/drawing/2014/main" id="{56042E6A-F5C1-7C09-6402-203CDC7139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1">
                <a:extLst>
                  <a:ext uri="{FF2B5EF4-FFF2-40B4-BE49-F238E27FC236}">
                    <a16:creationId xmlns:a16="http://schemas.microsoft.com/office/drawing/2014/main" id="{EE101D55-0BD7-F62B-F863-B2759E2D11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3">
                <a:extLst>
                  <a:ext uri="{FF2B5EF4-FFF2-40B4-BE49-F238E27FC236}">
                    <a16:creationId xmlns:a16="http://schemas.microsoft.com/office/drawing/2014/main" id="{1A565383-BAA8-21DE-5C72-01B257AB5F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" name="Live area">
              <a:extLst>
                <a:ext uri="{FF2B5EF4-FFF2-40B4-BE49-F238E27FC236}">
                  <a16:creationId xmlns:a16="http://schemas.microsoft.com/office/drawing/2014/main" id="{FCE5D75F-5971-ED2B-4E3C-0C7D981DEE3B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50CDBBD7-88C8-AD88-0BA7-446C87C760B5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8841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98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/>
              <a:t>Agenda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F647B2F-72C6-A082-46F4-CDD2209C5777}"/>
              </a:ext>
            </a:extLst>
          </p:cNvPr>
          <p:cNvGrpSpPr/>
          <p:nvPr userDrawn="1">
            <p:custDataLst>
              <p:tags r:id="rId4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2C380EE4-8FC0-4A0A-EE79-74F0187EBBFD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BFC7DA74-1EC0-A73C-D8AE-BF5D7DDFD9DB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DB0C20FB-B685-FBA0-F635-52F3CDD6374C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A14C4096-6343-3B87-72FE-BF143BEDA4FF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0892A65C-ABA5-6322-DCF3-7FA6BD7EB163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52836291-D8EA-6D8C-26AB-796C8F187DA6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4B1D0648-7B2E-65B5-F374-87FA32B8CE2F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42057AEE-AF13-EBC2-7F8C-9E95D85F7402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6BD23EE5-4F1C-6229-75DF-50A0DD527A26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C241C186-15D3-240F-7859-6747C073DBF1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FFC8CA29-2EF1-CFBD-4803-F451CC30C260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8BB72E6D-31E0-1F65-DD5F-BA2713A7A35F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821DDDBD-6FFD-8A3C-F084-553452F63AA3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3A20E259-DEA5-56C3-89A2-6979CD10812F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69F4D47A-B585-A258-7F91-0AA2108109B5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7C81F3BF-8684-3DD7-C7FE-0147BE0D0F02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4F8330C1-F048-E046-FFA0-417768384421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E4EC7DF3-F482-FA9D-EB1C-078D72C194CC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BA2AAA06-876B-D7AD-1AA1-6441BF4CB290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EE8B02A4-5A07-C9E2-30B8-FBA93CC395E9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AD3E42F2-CC70-9B3D-7B72-D830032CC256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3312A2DE-A7B9-BE30-5FDE-87A1B1BB5569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936023E4-E32D-B0ED-FAE8-D28FDC9AC487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2" name="Rectangle 34">
                <a:extLst>
                  <a:ext uri="{FF2B5EF4-FFF2-40B4-BE49-F238E27FC236}">
                    <a16:creationId xmlns:a16="http://schemas.microsoft.com/office/drawing/2014/main" id="{3FAA5312-85BD-7ADD-0B1B-4BA822D9DB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5">
                <a:extLst>
                  <a:ext uri="{FF2B5EF4-FFF2-40B4-BE49-F238E27FC236}">
                    <a16:creationId xmlns:a16="http://schemas.microsoft.com/office/drawing/2014/main" id="{C906C5EE-9935-8BA0-365E-B27091681E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6">
                <a:extLst>
                  <a:ext uri="{FF2B5EF4-FFF2-40B4-BE49-F238E27FC236}">
                    <a16:creationId xmlns:a16="http://schemas.microsoft.com/office/drawing/2014/main" id="{8D09817E-70B6-953E-573E-C62B407BC9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7">
                <a:extLst>
                  <a:ext uri="{FF2B5EF4-FFF2-40B4-BE49-F238E27FC236}">
                    <a16:creationId xmlns:a16="http://schemas.microsoft.com/office/drawing/2014/main" id="{1D5E8C13-187D-04BA-56CC-EE6E174643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8">
                <a:extLst>
                  <a:ext uri="{FF2B5EF4-FFF2-40B4-BE49-F238E27FC236}">
                    <a16:creationId xmlns:a16="http://schemas.microsoft.com/office/drawing/2014/main" id="{81160C5B-2DFA-20D6-A6DF-83A53A195B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9">
                <a:extLst>
                  <a:ext uri="{FF2B5EF4-FFF2-40B4-BE49-F238E27FC236}">
                    <a16:creationId xmlns:a16="http://schemas.microsoft.com/office/drawing/2014/main" id="{3FA7EA74-F970-D7F1-E089-068926A264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0">
                <a:extLst>
                  <a:ext uri="{FF2B5EF4-FFF2-40B4-BE49-F238E27FC236}">
                    <a16:creationId xmlns:a16="http://schemas.microsoft.com/office/drawing/2014/main" id="{03D84C6A-C864-2769-312D-B640491309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1">
                <a:extLst>
                  <a:ext uri="{FF2B5EF4-FFF2-40B4-BE49-F238E27FC236}">
                    <a16:creationId xmlns:a16="http://schemas.microsoft.com/office/drawing/2014/main" id="{0AE653E9-0E2B-CE08-F17A-E6B665D52D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2">
                <a:extLst>
                  <a:ext uri="{FF2B5EF4-FFF2-40B4-BE49-F238E27FC236}">
                    <a16:creationId xmlns:a16="http://schemas.microsoft.com/office/drawing/2014/main" id="{2010A432-F3EB-3E1F-5A02-D6A29B25F5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3">
                <a:extLst>
                  <a:ext uri="{FF2B5EF4-FFF2-40B4-BE49-F238E27FC236}">
                    <a16:creationId xmlns:a16="http://schemas.microsoft.com/office/drawing/2014/main" id="{4ABFB400-AB05-C6A0-714E-A43197D2B7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4">
                <a:extLst>
                  <a:ext uri="{FF2B5EF4-FFF2-40B4-BE49-F238E27FC236}">
                    <a16:creationId xmlns:a16="http://schemas.microsoft.com/office/drawing/2014/main" id="{B151B07F-7591-E05E-668E-BFF265D688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15073404-E7E7-AB26-196B-9A33AEA9C766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2" name="Footnote measure">
              <a:extLst>
                <a:ext uri="{FF2B5EF4-FFF2-40B4-BE49-F238E27FC236}">
                  <a16:creationId xmlns:a16="http://schemas.microsoft.com/office/drawing/2014/main" id="{9D8F691B-96E4-CD0F-581F-6901E868FA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Whitespace measure">
              <a:extLst>
                <a:ext uri="{FF2B5EF4-FFF2-40B4-BE49-F238E27FC236}">
                  <a16:creationId xmlns:a16="http://schemas.microsoft.com/office/drawing/2014/main" id="{C976EABC-4574-1381-FE78-955F0926E0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4" name="Five column measure">
              <a:extLst>
                <a:ext uri="{FF2B5EF4-FFF2-40B4-BE49-F238E27FC236}">
                  <a16:creationId xmlns:a16="http://schemas.microsoft.com/office/drawing/2014/main" id="{2ADD5DA5-75CB-56CA-CF13-4B95DB88424A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7" name="Rectangle 5">
                <a:extLst>
                  <a:ext uri="{FF2B5EF4-FFF2-40B4-BE49-F238E27FC236}">
                    <a16:creationId xmlns:a16="http://schemas.microsoft.com/office/drawing/2014/main" id="{F3C652F7-892E-B25E-0E49-FD68280C4C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7">
                <a:extLst>
                  <a:ext uri="{FF2B5EF4-FFF2-40B4-BE49-F238E27FC236}">
                    <a16:creationId xmlns:a16="http://schemas.microsoft.com/office/drawing/2014/main" id="{4641F3DF-501B-3AB3-6B29-7E7D9324A6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9">
                <a:extLst>
                  <a:ext uri="{FF2B5EF4-FFF2-40B4-BE49-F238E27FC236}">
                    <a16:creationId xmlns:a16="http://schemas.microsoft.com/office/drawing/2014/main" id="{ADFE813E-6108-66BD-9FE4-1EE354D279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1">
                <a:extLst>
                  <a:ext uri="{FF2B5EF4-FFF2-40B4-BE49-F238E27FC236}">
                    <a16:creationId xmlns:a16="http://schemas.microsoft.com/office/drawing/2014/main" id="{BEA9F695-E6A8-A620-D4B9-196F1967B3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3">
                <a:extLst>
                  <a:ext uri="{FF2B5EF4-FFF2-40B4-BE49-F238E27FC236}">
                    <a16:creationId xmlns:a16="http://schemas.microsoft.com/office/drawing/2014/main" id="{B965C835-9E8F-2B3E-D802-BD5569FE57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5" name="Live area">
              <a:extLst>
                <a:ext uri="{FF2B5EF4-FFF2-40B4-BE49-F238E27FC236}">
                  <a16:creationId xmlns:a16="http://schemas.microsoft.com/office/drawing/2014/main" id="{F11B052F-F2B6-DCEF-C31A-E694B3C9E26A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6" name="Footnote example">
              <a:extLst>
                <a:ext uri="{FF2B5EF4-FFF2-40B4-BE49-F238E27FC236}">
                  <a16:creationId xmlns:a16="http://schemas.microsoft.com/office/drawing/2014/main" id="{6BECCFD5-1642-8606-78ED-BFD39B180B95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22032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883096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01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7E06C2A-856B-336E-797A-43DA3E424FE6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3100824E-8B1A-14CC-C985-87E6F603E563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02137667-F375-6F28-324B-A4020223AF3B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DD629D08-EAC1-EC2B-CE24-B9DA82E9F6F3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5A2F0E80-AE40-CFDE-BD76-D000A3577092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831BDDEC-B8E3-EE6D-564F-07743FA48682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26655E26-2715-DC26-6896-6BDB9BDA2D33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F0AF797E-B494-6757-B69F-3A4086615B1C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1C460E07-8F29-B0CC-1143-4B28109BBEF0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84CDD7F8-0ECB-EF1F-C256-9E6DE5CE7EB6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39523DE0-8416-2B69-E1B6-CD5F22300900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D49AC809-8045-B6CE-BCFE-07373D3CAC55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F39C6F16-39B8-D9BF-1D88-C7C31067B53A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B44FFEE9-B8FF-6DDE-A97E-668A2413AB98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6DCB6202-7A4F-2C60-394F-AD5F9A01D5F0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9C89CDCB-6610-FE7D-2000-B96A3768121C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E7A2E6FC-B06F-C691-FF0A-2449A9CDB315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AEBD8480-86C1-15B8-0094-FF531D95791A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26A93119-A0FD-7386-AA59-760DDA4CA0A6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11670E8A-57D7-7E21-317E-0D2B601A92A9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5D32F682-C68F-0D65-4E67-65D21A9BA4F9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CB7F8BD7-B9BB-0065-9F85-DD6037ECB455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F88E0584-EAEC-7C1C-F301-363E0B678D55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A644E7F2-5546-E256-B36E-86B25CDEC7AD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0" name="Rectangle 34">
                <a:extLst>
                  <a:ext uri="{FF2B5EF4-FFF2-40B4-BE49-F238E27FC236}">
                    <a16:creationId xmlns:a16="http://schemas.microsoft.com/office/drawing/2014/main" id="{7200E0A9-A94F-C2E1-E11E-2ABC9E63C8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35">
                <a:extLst>
                  <a:ext uri="{FF2B5EF4-FFF2-40B4-BE49-F238E27FC236}">
                    <a16:creationId xmlns:a16="http://schemas.microsoft.com/office/drawing/2014/main" id="{F8AEAB21-677E-301D-843B-8D060AD23F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6">
                <a:extLst>
                  <a:ext uri="{FF2B5EF4-FFF2-40B4-BE49-F238E27FC236}">
                    <a16:creationId xmlns:a16="http://schemas.microsoft.com/office/drawing/2014/main" id="{D9493E60-3010-FA44-2DDF-60A54C401A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7">
                <a:extLst>
                  <a:ext uri="{FF2B5EF4-FFF2-40B4-BE49-F238E27FC236}">
                    <a16:creationId xmlns:a16="http://schemas.microsoft.com/office/drawing/2014/main" id="{5B471F40-A81C-F00A-5153-2C6A53BC09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8">
                <a:extLst>
                  <a:ext uri="{FF2B5EF4-FFF2-40B4-BE49-F238E27FC236}">
                    <a16:creationId xmlns:a16="http://schemas.microsoft.com/office/drawing/2014/main" id="{25F4B759-64AF-A650-A6A8-DE704101DC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9">
                <a:extLst>
                  <a:ext uri="{FF2B5EF4-FFF2-40B4-BE49-F238E27FC236}">
                    <a16:creationId xmlns:a16="http://schemas.microsoft.com/office/drawing/2014/main" id="{76E1C792-5673-1E61-D33A-97746B5D54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40">
                <a:extLst>
                  <a:ext uri="{FF2B5EF4-FFF2-40B4-BE49-F238E27FC236}">
                    <a16:creationId xmlns:a16="http://schemas.microsoft.com/office/drawing/2014/main" id="{2E767842-34AD-2318-957F-B91DDCEFFA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1">
                <a:extLst>
                  <a:ext uri="{FF2B5EF4-FFF2-40B4-BE49-F238E27FC236}">
                    <a16:creationId xmlns:a16="http://schemas.microsoft.com/office/drawing/2014/main" id="{E520A1C8-3723-138F-1B5A-760C2BF84E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2">
                <a:extLst>
                  <a:ext uri="{FF2B5EF4-FFF2-40B4-BE49-F238E27FC236}">
                    <a16:creationId xmlns:a16="http://schemas.microsoft.com/office/drawing/2014/main" id="{3809DA9B-6275-A827-27BA-5AA73AF2DF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3">
                <a:extLst>
                  <a:ext uri="{FF2B5EF4-FFF2-40B4-BE49-F238E27FC236}">
                    <a16:creationId xmlns:a16="http://schemas.microsoft.com/office/drawing/2014/main" id="{93993644-2ED2-E1F7-1BC5-047425BF40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4">
                <a:extLst>
                  <a:ext uri="{FF2B5EF4-FFF2-40B4-BE49-F238E27FC236}">
                    <a16:creationId xmlns:a16="http://schemas.microsoft.com/office/drawing/2014/main" id="{FE72ED8E-34BA-3382-B26E-4B43913685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3B54C3D0-178C-3FED-F88A-277F2CA08D43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:a16="http://schemas.microsoft.com/office/drawing/2014/main" id="{E83001EB-0E37-6FEF-B931-B423C2793E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16F705E9-3383-6478-D888-38E901C878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EA070581-8651-B203-5670-7DEC8C4B0BF1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" name="Rectangle 5">
                <a:extLst>
                  <a:ext uri="{FF2B5EF4-FFF2-40B4-BE49-F238E27FC236}">
                    <a16:creationId xmlns:a16="http://schemas.microsoft.com/office/drawing/2014/main" id="{469EEFA4-EFF0-9CD2-D66F-B7B163A8E1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7">
                <a:extLst>
                  <a:ext uri="{FF2B5EF4-FFF2-40B4-BE49-F238E27FC236}">
                    <a16:creationId xmlns:a16="http://schemas.microsoft.com/office/drawing/2014/main" id="{FA34B722-C343-3F83-951F-3114374C47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9">
                <a:extLst>
                  <a:ext uri="{FF2B5EF4-FFF2-40B4-BE49-F238E27FC236}">
                    <a16:creationId xmlns:a16="http://schemas.microsoft.com/office/drawing/2014/main" id="{98660BE0-4B60-BDF6-3C4A-249C00DF8F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11">
                <a:extLst>
                  <a:ext uri="{FF2B5EF4-FFF2-40B4-BE49-F238E27FC236}">
                    <a16:creationId xmlns:a16="http://schemas.microsoft.com/office/drawing/2014/main" id="{B9FC9E5A-3362-F200-8683-735F780F57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3">
                <a:extLst>
                  <a:ext uri="{FF2B5EF4-FFF2-40B4-BE49-F238E27FC236}">
                    <a16:creationId xmlns:a16="http://schemas.microsoft.com/office/drawing/2014/main" id="{6F03DAE9-C901-37D8-11B1-B0E0B154BB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3" name="Live area">
              <a:extLst>
                <a:ext uri="{FF2B5EF4-FFF2-40B4-BE49-F238E27FC236}">
                  <a16:creationId xmlns:a16="http://schemas.microsoft.com/office/drawing/2014/main" id="{50163F13-D50D-94DA-9EF6-951188203009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E70521EC-AA82-3A9D-C6B8-BCA00B936990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5729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03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09D71592-484B-740E-72A4-DB31F9E18FD7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BEE23510-6B1A-C0A0-53A6-DD64F343BAC0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A8108A98-8612-A3FC-2471-EC0653C6C2D7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4F90A68F-B2B0-0FA8-2D63-A36BB22EDB63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B19544B4-0E8F-EEEE-CE45-E5A000064A0B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CA33217D-44A2-3297-5DFD-6CE88A14B0B6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9F59DCEC-18FC-394B-1571-77EC77443F98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CE4D4854-8254-39AD-E76D-59FD08EACE78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B5E54B4C-E775-8E9B-FCA6-BC287246C22F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7883C015-BB87-4E73-1140-0A5DF3385625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45E7F715-6988-66F1-1EA1-70BC72090D1C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68D9F13A-81D2-3090-4BD7-1291EDEA4270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C3849D24-EC2A-88AB-259A-C460BBD50ABC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B2DE5CDB-63EB-D66D-BB5E-772D58B7B43D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8E927918-B24A-253E-AC63-F17241B52C68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83DFAD26-18F5-1330-BBE8-3E6CFF5B73EB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C6E30B92-424A-E731-5198-C29B2AB1DBA7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7F4887C3-AA39-3DFB-4696-5E85826D9F48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B11CD2F4-E4E1-3CF9-ECD9-4907BF809D0A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9A5D0CCF-D1A9-93F4-C1FC-11F810ADBB9C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F59B8EE5-5FDF-811A-D620-CC0294123366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A3D754CB-9EB5-7817-365F-EEA98480CBCE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360AFBA2-CD08-CD51-281C-295382B56197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DC558937-EF06-4E49-9602-E0F89005D84A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0" name="Rectangle 34">
                <a:extLst>
                  <a:ext uri="{FF2B5EF4-FFF2-40B4-BE49-F238E27FC236}">
                    <a16:creationId xmlns:a16="http://schemas.microsoft.com/office/drawing/2014/main" id="{9CB27C19-2345-76F4-B789-B19FDB62E4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35">
                <a:extLst>
                  <a:ext uri="{FF2B5EF4-FFF2-40B4-BE49-F238E27FC236}">
                    <a16:creationId xmlns:a16="http://schemas.microsoft.com/office/drawing/2014/main" id="{23207B4C-AE9A-1532-52A1-F9A6699A62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6">
                <a:extLst>
                  <a:ext uri="{FF2B5EF4-FFF2-40B4-BE49-F238E27FC236}">
                    <a16:creationId xmlns:a16="http://schemas.microsoft.com/office/drawing/2014/main" id="{6E746612-075A-2ADF-E399-3EFAC05E91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7">
                <a:extLst>
                  <a:ext uri="{FF2B5EF4-FFF2-40B4-BE49-F238E27FC236}">
                    <a16:creationId xmlns:a16="http://schemas.microsoft.com/office/drawing/2014/main" id="{4A6AACBB-E0F7-1262-DD86-C1FB4EEA37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8">
                <a:extLst>
                  <a:ext uri="{FF2B5EF4-FFF2-40B4-BE49-F238E27FC236}">
                    <a16:creationId xmlns:a16="http://schemas.microsoft.com/office/drawing/2014/main" id="{63B5FA3C-3285-4D66-7005-A6D622328F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9">
                <a:extLst>
                  <a:ext uri="{FF2B5EF4-FFF2-40B4-BE49-F238E27FC236}">
                    <a16:creationId xmlns:a16="http://schemas.microsoft.com/office/drawing/2014/main" id="{B5F78801-D959-E910-A2DE-FE071F9699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40">
                <a:extLst>
                  <a:ext uri="{FF2B5EF4-FFF2-40B4-BE49-F238E27FC236}">
                    <a16:creationId xmlns:a16="http://schemas.microsoft.com/office/drawing/2014/main" id="{0A3D7D75-D9A3-409A-158E-0468E4441A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1">
                <a:extLst>
                  <a:ext uri="{FF2B5EF4-FFF2-40B4-BE49-F238E27FC236}">
                    <a16:creationId xmlns:a16="http://schemas.microsoft.com/office/drawing/2014/main" id="{83B80F4E-3314-6C49-D6CD-4247FEB098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2">
                <a:extLst>
                  <a:ext uri="{FF2B5EF4-FFF2-40B4-BE49-F238E27FC236}">
                    <a16:creationId xmlns:a16="http://schemas.microsoft.com/office/drawing/2014/main" id="{12355EE8-9B6A-DDD6-F271-B079DBD322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3">
                <a:extLst>
                  <a:ext uri="{FF2B5EF4-FFF2-40B4-BE49-F238E27FC236}">
                    <a16:creationId xmlns:a16="http://schemas.microsoft.com/office/drawing/2014/main" id="{3DA76236-4C85-3402-3C34-EB8C441876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4">
                <a:extLst>
                  <a:ext uri="{FF2B5EF4-FFF2-40B4-BE49-F238E27FC236}">
                    <a16:creationId xmlns:a16="http://schemas.microsoft.com/office/drawing/2014/main" id="{B1253380-BBA6-8FDD-F90E-DAD0B074BB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8" name="Slide edges">
              <a:extLst>
                <a:ext uri="{FF2B5EF4-FFF2-40B4-BE49-F238E27FC236}">
                  <a16:creationId xmlns:a16="http://schemas.microsoft.com/office/drawing/2014/main" id="{82485B8D-D65A-6241-B94D-30CB4DED4B85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0" name="Footnote measure">
              <a:extLst>
                <a:ext uri="{FF2B5EF4-FFF2-40B4-BE49-F238E27FC236}">
                  <a16:creationId xmlns:a16="http://schemas.microsoft.com/office/drawing/2014/main" id="{7FC7591D-97B9-C3E8-D55E-3299273ECF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1AEA079A-59E6-2BDA-1F52-C73AA48CB4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D9E24101-412C-2824-90BC-B1C53B304082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" name="Rectangle 5">
                <a:extLst>
                  <a:ext uri="{FF2B5EF4-FFF2-40B4-BE49-F238E27FC236}">
                    <a16:creationId xmlns:a16="http://schemas.microsoft.com/office/drawing/2014/main" id="{2D8F8B98-3918-6643-8345-2AC3D3865D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7">
                <a:extLst>
                  <a:ext uri="{FF2B5EF4-FFF2-40B4-BE49-F238E27FC236}">
                    <a16:creationId xmlns:a16="http://schemas.microsoft.com/office/drawing/2014/main" id="{3101DD12-3B92-AFDA-3BA0-1E87721112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9">
                <a:extLst>
                  <a:ext uri="{FF2B5EF4-FFF2-40B4-BE49-F238E27FC236}">
                    <a16:creationId xmlns:a16="http://schemas.microsoft.com/office/drawing/2014/main" id="{C6136625-7D19-8478-0227-1AFBBB87DD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11">
                <a:extLst>
                  <a:ext uri="{FF2B5EF4-FFF2-40B4-BE49-F238E27FC236}">
                    <a16:creationId xmlns:a16="http://schemas.microsoft.com/office/drawing/2014/main" id="{2F4F3E40-F4FC-676C-2511-334871A852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3">
                <a:extLst>
                  <a:ext uri="{FF2B5EF4-FFF2-40B4-BE49-F238E27FC236}">
                    <a16:creationId xmlns:a16="http://schemas.microsoft.com/office/drawing/2014/main" id="{2A52D3AD-D0C0-C4D0-17ED-5995917922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3" name="Live area">
              <a:extLst>
                <a:ext uri="{FF2B5EF4-FFF2-40B4-BE49-F238E27FC236}">
                  <a16:creationId xmlns:a16="http://schemas.microsoft.com/office/drawing/2014/main" id="{273BED47-D149-9975-1CA9-E2FCC81B2E11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2149A756-CFBF-5F3B-474C-63D44BFC8C15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24739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06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D5FED79-9FC0-7817-EE6A-8EDD2ACD0E63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3C116F5A-8FAA-EC7D-0A8B-551AE504A409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183DF07A-7C45-ED25-7233-2D5567D8AEBD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E60A1D4A-B0B8-C35C-77E3-C8E5D19088A7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FBB068DB-5BC7-CE87-3ACA-01E0FAC98957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A215FCED-25A8-59EA-8896-7DA33294D15C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7AA0682B-4139-C592-5DAA-019C08578601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62D7AB21-1B1F-4D90-1828-F5CA671C6112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38F3AE55-AFD8-6415-C7DF-C00910FEF420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DC310867-DD74-B736-7419-C648D13A6CEB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F5948B02-AC47-4433-5407-C1BD5638DD31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02A62EAD-DC9E-ECB0-1895-04EA66B48D09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9703793B-EE75-2549-C38D-9972BCA07204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80B88375-7C75-451E-EDC1-12E9DAE2A42A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C4C7CBF3-DD53-D97F-8393-8F4DB83C35D6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D864A3E8-E112-6B83-46B3-F61B3A47E6EB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F14E9A16-C948-54E8-DAF6-5A636DD26404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A26795A1-71E5-59EB-A356-2476A1223BE9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69BEB092-1546-B958-C0AF-4112686A798F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7F345C33-8DD7-D9A5-39C3-9FCBF91D6681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971CB3BA-A0F9-D769-3311-2AF09CA36516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1EE5CC97-B736-5575-3D91-1F35F0CDAD4B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EF6C7B26-9E41-B822-23F0-D7548072C48D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D203DB7D-28B2-F2F4-0C2C-65F6A382B8DB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9" name="Rectangle 34">
                <a:extLst>
                  <a:ext uri="{FF2B5EF4-FFF2-40B4-BE49-F238E27FC236}">
                    <a16:creationId xmlns:a16="http://schemas.microsoft.com/office/drawing/2014/main" id="{BDEDC801-0F6C-793C-EA00-B1F104159B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35">
                <a:extLst>
                  <a:ext uri="{FF2B5EF4-FFF2-40B4-BE49-F238E27FC236}">
                    <a16:creationId xmlns:a16="http://schemas.microsoft.com/office/drawing/2014/main" id="{3743B5DE-EBFF-6552-024E-FB85CEC48C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36">
                <a:extLst>
                  <a:ext uri="{FF2B5EF4-FFF2-40B4-BE49-F238E27FC236}">
                    <a16:creationId xmlns:a16="http://schemas.microsoft.com/office/drawing/2014/main" id="{88C6FD75-BE18-A94C-B05C-D0544B9BA3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7">
                <a:extLst>
                  <a:ext uri="{FF2B5EF4-FFF2-40B4-BE49-F238E27FC236}">
                    <a16:creationId xmlns:a16="http://schemas.microsoft.com/office/drawing/2014/main" id="{4785FA65-07EA-9532-04F8-87CBAC611F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8">
                <a:extLst>
                  <a:ext uri="{FF2B5EF4-FFF2-40B4-BE49-F238E27FC236}">
                    <a16:creationId xmlns:a16="http://schemas.microsoft.com/office/drawing/2014/main" id="{303FD41A-601F-E736-BB86-6A8131155E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9">
                <a:extLst>
                  <a:ext uri="{FF2B5EF4-FFF2-40B4-BE49-F238E27FC236}">
                    <a16:creationId xmlns:a16="http://schemas.microsoft.com/office/drawing/2014/main" id="{D3172646-3F0E-1DDC-F873-1F564B9ADF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0">
                <a:extLst>
                  <a:ext uri="{FF2B5EF4-FFF2-40B4-BE49-F238E27FC236}">
                    <a16:creationId xmlns:a16="http://schemas.microsoft.com/office/drawing/2014/main" id="{90D00EDD-F540-EFC7-3E67-53AC56DB83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1">
                <a:extLst>
                  <a:ext uri="{FF2B5EF4-FFF2-40B4-BE49-F238E27FC236}">
                    <a16:creationId xmlns:a16="http://schemas.microsoft.com/office/drawing/2014/main" id="{08CBB6ED-984F-4C03-09EC-96286F8B27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2">
                <a:extLst>
                  <a:ext uri="{FF2B5EF4-FFF2-40B4-BE49-F238E27FC236}">
                    <a16:creationId xmlns:a16="http://schemas.microsoft.com/office/drawing/2014/main" id="{D0F5289F-1150-9242-7875-5B5F31F8DA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3">
                <a:extLst>
                  <a:ext uri="{FF2B5EF4-FFF2-40B4-BE49-F238E27FC236}">
                    <a16:creationId xmlns:a16="http://schemas.microsoft.com/office/drawing/2014/main" id="{9FF94B65-43D5-CA2C-E621-0BEC0B9D8D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4">
                <a:extLst>
                  <a:ext uri="{FF2B5EF4-FFF2-40B4-BE49-F238E27FC236}">
                    <a16:creationId xmlns:a16="http://schemas.microsoft.com/office/drawing/2014/main" id="{FFC0A1E8-BAA1-E01B-79E4-D86D11A0B6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C0709C17-9634-E505-0A4C-20FBAD48F45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" name="Footnote measure">
              <a:extLst>
                <a:ext uri="{FF2B5EF4-FFF2-40B4-BE49-F238E27FC236}">
                  <a16:creationId xmlns:a16="http://schemas.microsoft.com/office/drawing/2014/main" id="{17F4F9F9-9069-1B66-1A84-80B518B48B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Whitespace measure">
              <a:extLst>
                <a:ext uri="{FF2B5EF4-FFF2-40B4-BE49-F238E27FC236}">
                  <a16:creationId xmlns:a16="http://schemas.microsoft.com/office/drawing/2014/main" id="{8D90D3F8-76BC-70AF-99D4-1D7DF76C7C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Five column measure">
              <a:extLst>
                <a:ext uri="{FF2B5EF4-FFF2-40B4-BE49-F238E27FC236}">
                  <a16:creationId xmlns:a16="http://schemas.microsoft.com/office/drawing/2014/main" id="{FBABE961-1403-6CD9-6720-AABBFA2BCBFF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4" name="Rectangle 5">
                <a:extLst>
                  <a:ext uri="{FF2B5EF4-FFF2-40B4-BE49-F238E27FC236}">
                    <a16:creationId xmlns:a16="http://schemas.microsoft.com/office/drawing/2014/main" id="{9E0FBD7B-590F-CD97-29AE-9A826D2E1E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Rectangle 7">
                <a:extLst>
                  <a:ext uri="{FF2B5EF4-FFF2-40B4-BE49-F238E27FC236}">
                    <a16:creationId xmlns:a16="http://schemas.microsoft.com/office/drawing/2014/main" id="{BEFFBAC8-2F6F-56DB-2DF4-4C048D79A3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9">
                <a:extLst>
                  <a:ext uri="{FF2B5EF4-FFF2-40B4-BE49-F238E27FC236}">
                    <a16:creationId xmlns:a16="http://schemas.microsoft.com/office/drawing/2014/main" id="{543CB432-18C8-C3E5-8C57-E2CF104E8D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11">
                <a:extLst>
                  <a:ext uri="{FF2B5EF4-FFF2-40B4-BE49-F238E27FC236}">
                    <a16:creationId xmlns:a16="http://schemas.microsoft.com/office/drawing/2014/main" id="{D2189B8F-CA6D-0093-E4C1-564051F3BF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13">
                <a:extLst>
                  <a:ext uri="{FF2B5EF4-FFF2-40B4-BE49-F238E27FC236}">
                    <a16:creationId xmlns:a16="http://schemas.microsoft.com/office/drawing/2014/main" id="{52349E1C-6614-C71F-700F-A4D6C301D1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" name="Live area">
              <a:extLst>
                <a:ext uri="{FF2B5EF4-FFF2-40B4-BE49-F238E27FC236}">
                  <a16:creationId xmlns:a16="http://schemas.microsoft.com/office/drawing/2014/main" id="{D09738E0-27BA-1D11-EE81-21CB1C0340B6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3" name="Footnote example">
              <a:extLst>
                <a:ext uri="{FF2B5EF4-FFF2-40B4-BE49-F238E27FC236}">
                  <a16:creationId xmlns:a16="http://schemas.microsoft.com/office/drawing/2014/main" id="{3D214117-7877-2A2B-6705-6AB767D8612A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61168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0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C6E36556-961C-52D2-D9AC-D92ECD5E951F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36290A98-DEC8-647C-C06D-C8AB43096EFF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111D3C9A-B908-1298-94CD-8A16FD7B2685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4B88AAA9-3265-2D7D-A48D-5BA9CE77A91C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F3145720-4385-7B22-B3B0-BDCE6A102E4F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1F7DD913-A24E-4FED-078B-F8CB1BB057E5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64731904-0FF8-1A5B-8F3F-3E1B8343CC14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6E2E7A4E-78FE-1765-3C13-CC82F887E981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DC623582-D202-920D-0359-930C8159D334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709F4B2E-E8FC-C255-D470-3D23B24565C9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FCB4FCE8-DB21-9807-28FA-776287321DBB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49238F3F-2769-F5F8-B9B9-2835AC4F160C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5CAB7FA4-2863-7F63-911D-134487A9558B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E03E6A16-84BB-A27F-8A92-42EABF2CF44D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FAE7D0E6-676B-9BE0-010C-07DD0FB83D77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0B59E072-C8A9-1335-E307-7B2674067E30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2DF85EC5-7333-6CE7-99C7-F3A15CD560A5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B0BEF89C-9983-12D7-3B37-32534B794D72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F9C6E68B-9FAA-4C92-2189-D869AF432D08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E6DE2BD3-0C88-529D-3D81-E86DDFF8E3B5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80352891-18A2-98A3-B266-4B6D935CE6E8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0D139618-82B4-3D36-CF1F-8DC10A2DF572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2D96B4B5-CFBA-3DBC-50C4-B2DC2371668D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E0AE1AA4-A66A-4593-1CBC-BAE06F6F69B8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3" name="Rectangle 34">
                <a:extLst>
                  <a:ext uri="{FF2B5EF4-FFF2-40B4-BE49-F238E27FC236}">
                    <a16:creationId xmlns:a16="http://schemas.microsoft.com/office/drawing/2014/main" id="{0B409C7F-1616-32FB-B87F-18539CB356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5">
                <a:extLst>
                  <a:ext uri="{FF2B5EF4-FFF2-40B4-BE49-F238E27FC236}">
                    <a16:creationId xmlns:a16="http://schemas.microsoft.com/office/drawing/2014/main" id="{A232F91A-4766-DF55-8C33-438E3D6695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6">
                <a:extLst>
                  <a:ext uri="{FF2B5EF4-FFF2-40B4-BE49-F238E27FC236}">
                    <a16:creationId xmlns:a16="http://schemas.microsoft.com/office/drawing/2014/main" id="{9133513B-F4B5-4C7D-6220-200B9FE7E4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7">
                <a:extLst>
                  <a:ext uri="{FF2B5EF4-FFF2-40B4-BE49-F238E27FC236}">
                    <a16:creationId xmlns:a16="http://schemas.microsoft.com/office/drawing/2014/main" id="{B09C1101-FCD1-8AF2-2D60-3B28008A52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8">
                <a:extLst>
                  <a:ext uri="{FF2B5EF4-FFF2-40B4-BE49-F238E27FC236}">
                    <a16:creationId xmlns:a16="http://schemas.microsoft.com/office/drawing/2014/main" id="{4250DE6F-5427-C4E1-3DCF-E50F3FCA48C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39">
                <a:extLst>
                  <a:ext uri="{FF2B5EF4-FFF2-40B4-BE49-F238E27FC236}">
                    <a16:creationId xmlns:a16="http://schemas.microsoft.com/office/drawing/2014/main" id="{B643E038-1650-E560-D17A-8855CFB852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0">
                <a:extLst>
                  <a:ext uri="{FF2B5EF4-FFF2-40B4-BE49-F238E27FC236}">
                    <a16:creationId xmlns:a16="http://schemas.microsoft.com/office/drawing/2014/main" id="{49059829-1348-A21E-9C8A-2B8AF86CEC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1">
                <a:extLst>
                  <a:ext uri="{FF2B5EF4-FFF2-40B4-BE49-F238E27FC236}">
                    <a16:creationId xmlns:a16="http://schemas.microsoft.com/office/drawing/2014/main" id="{840F0DBF-8152-0223-DC87-C395C3124D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2">
                <a:extLst>
                  <a:ext uri="{FF2B5EF4-FFF2-40B4-BE49-F238E27FC236}">
                    <a16:creationId xmlns:a16="http://schemas.microsoft.com/office/drawing/2014/main" id="{EE62DC92-8088-41FE-D669-77F54EFF92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3">
                <a:extLst>
                  <a:ext uri="{FF2B5EF4-FFF2-40B4-BE49-F238E27FC236}">
                    <a16:creationId xmlns:a16="http://schemas.microsoft.com/office/drawing/2014/main" id="{95B3B72A-9DA9-BBA5-8CCA-C4C78F8FEFC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44">
                <a:extLst>
                  <a:ext uri="{FF2B5EF4-FFF2-40B4-BE49-F238E27FC236}">
                    <a16:creationId xmlns:a16="http://schemas.microsoft.com/office/drawing/2014/main" id="{3F2EBC13-08A5-B2A1-9442-422F5C5571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B59FD15A-9BF6-A704-D902-2F7221E0298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" name="Footnote measure">
              <a:extLst>
                <a:ext uri="{FF2B5EF4-FFF2-40B4-BE49-F238E27FC236}">
                  <a16:creationId xmlns:a16="http://schemas.microsoft.com/office/drawing/2014/main" id="{F5FB2D66-3759-F27B-136F-DFDE846724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Whitespace measure">
              <a:extLst>
                <a:ext uri="{FF2B5EF4-FFF2-40B4-BE49-F238E27FC236}">
                  <a16:creationId xmlns:a16="http://schemas.microsoft.com/office/drawing/2014/main" id="{758AAC44-7390-5A23-7B47-621574F5B8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Five column measure">
              <a:extLst>
                <a:ext uri="{FF2B5EF4-FFF2-40B4-BE49-F238E27FC236}">
                  <a16:creationId xmlns:a16="http://schemas.microsoft.com/office/drawing/2014/main" id="{0A1824F0-E0CC-6FD3-6162-A388084C2ABC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" name="Rectangle 5">
                <a:extLst>
                  <a:ext uri="{FF2B5EF4-FFF2-40B4-BE49-F238E27FC236}">
                    <a16:creationId xmlns:a16="http://schemas.microsoft.com/office/drawing/2014/main" id="{49A9B9AB-A6B9-EECB-6D79-B2D6991643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7">
                <a:extLst>
                  <a:ext uri="{FF2B5EF4-FFF2-40B4-BE49-F238E27FC236}">
                    <a16:creationId xmlns:a16="http://schemas.microsoft.com/office/drawing/2014/main" id="{37211063-9AE9-90C1-47A4-9E82AF1B9E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9">
                <a:extLst>
                  <a:ext uri="{FF2B5EF4-FFF2-40B4-BE49-F238E27FC236}">
                    <a16:creationId xmlns:a16="http://schemas.microsoft.com/office/drawing/2014/main" id="{95D63407-5096-A175-BD4A-8A995B44B4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1">
                <a:extLst>
                  <a:ext uri="{FF2B5EF4-FFF2-40B4-BE49-F238E27FC236}">
                    <a16:creationId xmlns:a16="http://schemas.microsoft.com/office/drawing/2014/main" id="{4EACEE37-78AE-284E-F8BC-EC625B2DC4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13">
                <a:extLst>
                  <a:ext uri="{FF2B5EF4-FFF2-40B4-BE49-F238E27FC236}">
                    <a16:creationId xmlns:a16="http://schemas.microsoft.com/office/drawing/2014/main" id="{88840E44-0258-D129-4F3A-BC7A84276E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" name="Live area">
              <a:extLst>
                <a:ext uri="{FF2B5EF4-FFF2-40B4-BE49-F238E27FC236}">
                  <a16:creationId xmlns:a16="http://schemas.microsoft.com/office/drawing/2014/main" id="{058D179F-D116-A378-D5E0-4C1F67FB69FE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44131F3D-2B73-BB9D-00EF-12711C65062B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90258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580BD2-A0FF-42FE-95F1-027767BF8888}" type="datetimeFigureOut">
              <a:rPr lang="en-US" smtClean="0"/>
              <a:t>3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3AD066-9D4A-46CC-A713-B498DA6158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054088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1733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927375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21629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419715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1937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817222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46512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948818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219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9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2024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4349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8789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0475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6908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3110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3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solidFill>
            <a:srgbClr val="1228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83" t="16586" r="8083" b="15308"/>
          <a:stretch/>
        </p:blipFill>
        <p:spPr>
          <a:xfrm>
            <a:off x="2971801" y="2667000"/>
            <a:ext cx="3059154" cy="1448000"/>
          </a:xfrm>
          <a:custGeom>
            <a:avLst/>
            <a:gdLst>
              <a:gd name="connsiteX0" fmla="*/ 0 w 3649041"/>
              <a:gd name="connsiteY0" fmla="*/ 0 h 2098956"/>
              <a:gd name="connsiteX1" fmla="*/ 3649041 w 3649041"/>
              <a:gd name="connsiteY1" fmla="*/ 0 h 2098956"/>
              <a:gd name="connsiteX2" fmla="*/ 3649041 w 3649041"/>
              <a:gd name="connsiteY2" fmla="*/ 2098956 h 2098956"/>
              <a:gd name="connsiteX3" fmla="*/ 0 w 3649041"/>
              <a:gd name="connsiteY3" fmla="*/ 2098956 h 2098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49041" h="2098956">
                <a:moveTo>
                  <a:pt x="0" y="0"/>
                </a:moveTo>
                <a:lnTo>
                  <a:pt x="3649041" y="0"/>
                </a:lnTo>
                <a:lnTo>
                  <a:pt x="3649041" y="2098956"/>
                </a:lnTo>
                <a:lnTo>
                  <a:pt x="0" y="209895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862743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7281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707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5CFD172-DFA6-85F4-86D2-A9E05EB076DC}"/>
              </a:ext>
            </a:extLst>
          </p:cNvPr>
          <p:cNvGrpSpPr/>
          <p:nvPr userDrawn="1">
            <p:custDataLst>
              <p:tags r:id="rId4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" name="No fly zone">
              <a:extLst>
                <a:ext uri="{FF2B5EF4-FFF2-40B4-BE49-F238E27FC236}">
                  <a16:creationId xmlns:a16="http://schemas.microsoft.com/office/drawing/2014/main" id="{A32A028C-61A0-7B9B-985D-AEE502D2088F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6" name="Baselines / anchors">
              <a:extLst>
                <a:ext uri="{FF2B5EF4-FFF2-40B4-BE49-F238E27FC236}">
                  <a16:creationId xmlns:a16="http://schemas.microsoft.com/office/drawing/2014/main" id="{12560648-9BC9-13A4-4B7B-6FA75A936709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1D5F01F6-4B58-27F0-8AD4-A6FFE7B3D288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0B53C0A5-4514-7A48-8FB7-AD7ACC78091F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9A5FF46D-DB55-8107-E95F-A9445DEDA3CF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75AA848B-764C-094F-D24A-22AFAC738AE9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F8B49C1B-1403-9D41-ABAA-EACA09F3EBDE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7C49C6A7-4ED1-402C-F346-FC016A6FA45A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05BDEB38-174B-0685-818C-FF706A059549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1495C784-81B3-9870-384B-4448C2AA2D29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4C001A9E-1861-C4F9-9D0D-59BD73B3ABBF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BEC9FB37-750D-16B8-47E3-7F65EF72C7CE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319B6E88-CB1C-0772-9914-8A581FFF787D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1B62128F-FF7A-5995-8521-F167D107C8A9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76B8B421-872A-BB21-D84F-5A5E333EABC5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4F69B523-B430-FE47-4835-69E8EC36C210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E5FE61C7-377C-A098-6F37-3AF92D76E898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B95FF4AF-5FEE-E0A7-AE53-BA5A84B61CBC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FD9D478B-B9FC-2979-6698-287772C22BA1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B89E655F-F175-33F2-C005-4EEDDBD17AA0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28C6C475-8A6A-FB10-6910-300376269AAE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04F256A6-CCCA-A561-762F-294091D1481F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utter space">
              <a:extLst>
                <a:ext uri="{FF2B5EF4-FFF2-40B4-BE49-F238E27FC236}">
                  <a16:creationId xmlns:a16="http://schemas.microsoft.com/office/drawing/2014/main" id="{FAD42389-D543-AE7C-55D2-94FFB2BA2A58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3" name="Rectangle 34">
                <a:extLst>
                  <a:ext uri="{FF2B5EF4-FFF2-40B4-BE49-F238E27FC236}">
                    <a16:creationId xmlns:a16="http://schemas.microsoft.com/office/drawing/2014/main" id="{2FAA86B7-D089-BF39-BBE5-6353118B67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5">
                <a:extLst>
                  <a:ext uri="{FF2B5EF4-FFF2-40B4-BE49-F238E27FC236}">
                    <a16:creationId xmlns:a16="http://schemas.microsoft.com/office/drawing/2014/main" id="{110969CB-E192-9D16-4FA1-DB09C03ABB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6">
                <a:extLst>
                  <a:ext uri="{FF2B5EF4-FFF2-40B4-BE49-F238E27FC236}">
                    <a16:creationId xmlns:a16="http://schemas.microsoft.com/office/drawing/2014/main" id="{DFD2819C-0C28-BE58-8A3F-39C46B1FBC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7">
                <a:extLst>
                  <a:ext uri="{FF2B5EF4-FFF2-40B4-BE49-F238E27FC236}">
                    <a16:creationId xmlns:a16="http://schemas.microsoft.com/office/drawing/2014/main" id="{6494C4B8-56F7-3EF1-398C-E475BCCEC9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8">
                <a:extLst>
                  <a:ext uri="{FF2B5EF4-FFF2-40B4-BE49-F238E27FC236}">
                    <a16:creationId xmlns:a16="http://schemas.microsoft.com/office/drawing/2014/main" id="{ADD974BC-4003-CCA9-A7A0-1BD7A7C407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39">
                <a:extLst>
                  <a:ext uri="{FF2B5EF4-FFF2-40B4-BE49-F238E27FC236}">
                    <a16:creationId xmlns:a16="http://schemas.microsoft.com/office/drawing/2014/main" id="{D28E7763-EA04-F62E-5543-745BCE80EA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0">
                <a:extLst>
                  <a:ext uri="{FF2B5EF4-FFF2-40B4-BE49-F238E27FC236}">
                    <a16:creationId xmlns:a16="http://schemas.microsoft.com/office/drawing/2014/main" id="{9DBA65AC-1F4D-418C-96BA-214B43F46D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1">
                <a:extLst>
                  <a:ext uri="{FF2B5EF4-FFF2-40B4-BE49-F238E27FC236}">
                    <a16:creationId xmlns:a16="http://schemas.microsoft.com/office/drawing/2014/main" id="{FF61F02D-F74D-21A2-7103-CF379513DD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2">
                <a:extLst>
                  <a:ext uri="{FF2B5EF4-FFF2-40B4-BE49-F238E27FC236}">
                    <a16:creationId xmlns:a16="http://schemas.microsoft.com/office/drawing/2014/main" id="{56190309-4DB9-84A9-3D2F-A3DAD5A537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3">
                <a:extLst>
                  <a:ext uri="{FF2B5EF4-FFF2-40B4-BE49-F238E27FC236}">
                    <a16:creationId xmlns:a16="http://schemas.microsoft.com/office/drawing/2014/main" id="{3E34EA1C-95E2-2EAA-C006-79918A6590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44">
                <a:extLst>
                  <a:ext uri="{FF2B5EF4-FFF2-40B4-BE49-F238E27FC236}">
                    <a16:creationId xmlns:a16="http://schemas.microsoft.com/office/drawing/2014/main" id="{6CD538D1-17CA-026B-F1C4-96533A65B5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9" name="Slide edges">
              <a:extLst>
                <a:ext uri="{FF2B5EF4-FFF2-40B4-BE49-F238E27FC236}">
                  <a16:creationId xmlns:a16="http://schemas.microsoft.com/office/drawing/2014/main" id="{0F9D03CE-ACB6-2689-8716-FC92C2F091BA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3" name="Footnote measure">
              <a:extLst>
                <a:ext uri="{FF2B5EF4-FFF2-40B4-BE49-F238E27FC236}">
                  <a16:creationId xmlns:a16="http://schemas.microsoft.com/office/drawing/2014/main" id="{CD295664-FBE5-BC7A-DFDD-CDB1BCD68A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Whitespace measure">
              <a:extLst>
                <a:ext uri="{FF2B5EF4-FFF2-40B4-BE49-F238E27FC236}">
                  <a16:creationId xmlns:a16="http://schemas.microsoft.com/office/drawing/2014/main" id="{0794EFB3-AB63-8C14-C13F-4E056DAFDE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5" name="Five column measure">
              <a:extLst>
                <a:ext uri="{FF2B5EF4-FFF2-40B4-BE49-F238E27FC236}">
                  <a16:creationId xmlns:a16="http://schemas.microsoft.com/office/drawing/2014/main" id="{BC462BE2-2619-C541-2ACD-8A7373D0DFBD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8" name="Rectangle 5">
                <a:extLst>
                  <a:ext uri="{FF2B5EF4-FFF2-40B4-BE49-F238E27FC236}">
                    <a16:creationId xmlns:a16="http://schemas.microsoft.com/office/drawing/2014/main" id="{CB71F1B1-3CE9-4D25-FBB0-374E709F19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7">
                <a:extLst>
                  <a:ext uri="{FF2B5EF4-FFF2-40B4-BE49-F238E27FC236}">
                    <a16:creationId xmlns:a16="http://schemas.microsoft.com/office/drawing/2014/main" id="{2D74B6B3-0F18-C131-0805-B7F070E67E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9">
                <a:extLst>
                  <a:ext uri="{FF2B5EF4-FFF2-40B4-BE49-F238E27FC236}">
                    <a16:creationId xmlns:a16="http://schemas.microsoft.com/office/drawing/2014/main" id="{668CBECF-6992-6A0E-2C51-4728038BF4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1">
                <a:extLst>
                  <a:ext uri="{FF2B5EF4-FFF2-40B4-BE49-F238E27FC236}">
                    <a16:creationId xmlns:a16="http://schemas.microsoft.com/office/drawing/2014/main" id="{495BA356-791D-A0CD-DB1E-416EB78248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13">
                <a:extLst>
                  <a:ext uri="{FF2B5EF4-FFF2-40B4-BE49-F238E27FC236}">
                    <a16:creationId xmlns:a16="http://schemas.microsoft.com/office/drawing/2014/main" id="{14DB5F3F-04F6-0B93-6054-7ACBA81692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6" name="Live area">
              <a:extLst>
                <a:ext uri="{FF2B5EF4-FFF2-40B4-BE49-F238E27FC236}">
                  <a16:creationId xmlns:a16="http://schemas.microsoft.com/office/drawing/2014/main" id="{A5E26647-AE41-8D78-F354-891F67F3389E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7" name="Footnote example">
              <a:extLst>
                <a:ext uri="{FF2B5EF4-FFF2-40B4-BE49-F238E27FC236}">
                  <a16:creationId xmlns:a16="http://schemas.microsoft.com/office/drawing/2014/main" id="{60638442-53DE-440C-AC65-FCA78BE89436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81197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56C710F-E2D9-CEA4-05F1-A69D807A7B48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8190BCD6-471B-636F-9A5A-608F5BF3F17C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B2B0CF76-B99A-C85F-5457-DF3C65AE03E0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8EAAE1A7-E726-477F-207D-1AC8080A8573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E4DBE854-5199-FB03-4AE9-8D079855685E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96B79D15-A5B2-C573-2E5A-C1F4FFC36A9D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C6C7472E-585B-8FB3-989A-A934D37DE8D5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84F3B6CB-BD36-275F-A6C3-DFE016CB7A6D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B25BCF46-90B6-47E6-C247-55BC50029B35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E9A81F16-2B5C-60FC-C1CB-F0E95D83BB09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43BD37AD-1BC5-7E86-A2B2-F8CC53189946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34A8E446-49D4-F1A0-ECEB-2421C401D197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ED67FE83-5F53-C127-9FD7-58D5C9367155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A16CA31E-3B53-83A7-08E6-31FCC61CDE58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5943C48D-63EC-BC16-0F25-0C7E921C6C74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1FE28E44-9B84-E953-DBBF-BAA725A9727C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A320CBCF-448F-B00F-3D03-108C46300D10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D4DD4A19-591A-ECEB-BF4B-8ACE717EAB73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79FEF711-C625-65EC-29EA-4BD9AF6341AE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9307F732-1469-3853-E9F8-4288DA268157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8B1F08E6-CE38-BB16-AEA5-4FD46CD22AA5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D6DB7B0F-4B8D-9C8A-E6CD-7417E1C6E53E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69D95448-544B-84F0-8660-1B9947D511FD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79901A11-901D-A45D-E415-616BAF08059B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1" name="Rectangle 34">
                <a:extLst>
                  <a:ext uri="{FF2B5EF4-FFF2-40B4-BE49-F238E27FC236}">
                    <a16:creationId xmlns:a16="http://schemas.microsoft.com/office/drawing/2014/main" id="{5E6A6EFA-4110-8CC1-D7E0-3B666755ED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5">
                <a:extLst>
                  <a:ext uri="{FF2B5EF4-FFF2-40B4-BE49-F238E27FC236}">
                    <a16:creationId xmlns:a16="http://schemas.microsoft.com/office/drawing/2014/main" id="{84805680-6F79-4057-7C4E-FF885F2FDC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6">
                <a:extLst>
                  <a:ext uri="{FF2B5EF4-FFF2-40B4-BE49-F238E27FC236}">
                    <a16:creationId xmlns:a16="http://schemas.microsoft.com/office/drawing/2014/main" id="{B0E90C74-ED62-A13B-1CCA-8A7ACA8EE8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7">
                <a:extLst>
                  <a:ext uri="{FF2B5EF4-FFF2-40B4-BE49-F238E27FC236}">
                    <a16:creationId xmlns:a16="http://schemas.microsoft.com/office/drawing/2014/main" id="{D6423663-C00A-1B59-1A51-49190F87D0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8">
                <a:extLst>
                  <a:ext uri="{FF2B5EF4-FFF2-40B4-BE49-F238E27FC236}">
                    <a16:creationId xmlns:a16="http://schemas.microsoft.com/office/drawing/2014/main" id="{7F6E9FC0-39B2-9CDA-187A-15ED6E9CED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9">
                <a:extLst>
                  <a:ext uri="{FF2B5EF4-FFF2-40B4-BE49-F238E27FC236}">
                    <a16:creationId xmlns:a16="http://schemas.microsoft.com/office/drawing/2014/main" id="{B0B414D9-4D20-5C44-AE11-70F127A5CA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0">
                <a:extLst>
                  <a:ext uri="{FF2B5EF4-FFF2-40B4-BE49-F238E27FC236}">
                    <a16:creationId xmlns:a16="http://schemas.microsoft.com/office/drawing/2014/main" id="{38550AAE-B3B1-DDED-3D68-E86AB59CB1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1">
                <a:extLst>
                  <a:ext uri="{FF2B5EF4-FFF2-40B4-BE49-F238E27FC236}">
                    <a16:creationId xmlns:a16="http://schemas.microsoft.com/office/drawing/2014/main" id="{5FDC25D2-0B65-81A2-3190-04F092C940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2">
                <a:extLst>
                  <a:ext uri="{FF2B5EF4-FFF2-40B4-BE49-F238E27FC236}">
                    <a16:creationId xmlns:a16="http://schemas.microsoft.com/office/drawing/2014/main" id="{2B14355B-9BEE-7268-927D-CDC113E9A6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3">
                <a:extLst>
                  <a:ext uri="{FF2B5EF4-FFF2-40B4-BE49-F238E27FC236}">
                    <a16:creationId xmlns:a16="http://schemas.microsoft.com/office/drawing/2014/main" id="{851A77CB-F55F-087E-5155-8F8231BA3B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4">
                <a:extLst>
                  <a:ext uri="{FF2B5EF4-FFF2-40B4-BE49-F238E27FC236}">
                    <a16:creationId xmlns:a16="http://schemas.microsoft.com/office/drawing/2014/main" id="{B7CFCB50-3DB3-74DE-F63C-2FE8C3FEF5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8" name="Slide edges">
              <a:extLst>
                <a:ext uri="{FF2B5EF4-FFF2-40B4-BE49-F238E27FC236}">
                  <a16:creationId xmlns:a16="http://schemas.microsoft.com/office/drawing/2014/main" id="{6E4BC7BB-5D61-203C-B821-7E6F4976D1B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:a16="http://schemas.microsoft.com/office/drawing/2014/main" id="{0E9853F5-3ED0-529E-752E-AA0365B9C4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D45C2999-DBEE-9377-C20C-378E341477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09BF1550-71FC-3E10-49E1-2F0481BFDB40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6" name="Rectangle 5">
                <a:extLst>
                  <a:ext uri="{FF2B5EF4-FFF2-40B4-BE49-F238E27FC236}">
                    <a16:creationId xmlns:a16="http://schemas.microsoft.com/office/drawing/2014/main" id="{705ABA5A-8309-9583-4B6D-7FD2388035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7">
                <a:extLst>
                  <a:ext uri="{FF2B5EF4-FFF2-40B4-BE49-F238E27FC236}">
                    <a16:creationId xmlns:a16="http://schemas.microsoft.com/office/drawing/2014/main" id="{272C2852-B071-AA36-9522-95FEE7EC23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9">
                <a:extLst>
                  <a:ext uri="{FF2B5EF4-FFF2-40B4-BE49-F238E27FC236}">
                    <a16:creationId xmlns:a16="http://schemas.microsoft.com/office/drawing/2014/main" id="{27167FA3-8C9F-D5C2-723D-C7AD1FBEDE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1">
                <a:extLst>
                  <a:ext uri="{FF2B5EF4-FFF2-40B4-BE49-F238E27FC236}">
                    <a16:creationId xmlns:a16="http://schemas.microsoft.com/office/drawing/2014/main" id="{15A938F0-93D3-FE30-A9F3-E9D844E482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3">
                <a:extLst>
                  <a:ext uri="{FF2B5EF4-FFF2-40B4-BE49-F238E27FC236}">
                    <a16:creationId xmlns:a16="http://schemas.microsoft.com/office/drawing/2014/main" id="{EA2E1AAF-FDAF-345E-7469-0B48AA094C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4" name="Live area">
              <a:extLst>
                <a:ext uri="{FF2B5EF4-FFF2-40B4-BE49-F238E27FC236}">
                  <a16:creationId xmlns:a16="http://schemas.microsoft.com/office/drawing/2014/main" id="{9A8891D0-D214-4F48-338B-88B7BB70D3E2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5" name="Footnote example">
              <a:extLst>
                <a:ext uri="{FF2B5EF4-FFF2-40B4-BE49-F238E27FC236}">
                  <a16:creationId xmlns:a16="http://schemas.microsoft.com/office/drawing/2014/main" id="{663890ED-9D9C-5FBA-0CF4-C7F4D79FEDBF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3283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3C79C9AE-4240-3DA0-2AB8-C17D39CD21C1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D1D5CFBC-324B-CB93-18A8-952F14106BBB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A36E7A43-AF7B-DF25-D05A-695319333105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4471639F-9B9F-9672-EDD4-FD4E087764FD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CE7A6CFE-563C-BA82-E410-AC192B1188CB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19733ADF-D6F0-8C4D-7A9E-54144145ADBE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438903F3-3F58-E8AD-B0A6-3BE45D86AE7C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B1B109A0-9B69-F812-1FD1-C36350CA75D0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022C01F7-2965-A290-DB22-D3F9D90C89DB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B0F95E02-BACD-4B4C-B8DC-8503569BC1AE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F5FF3FC4-15A2-9F6E-07DC-9D0BAEC57858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C959A248-19A9-9389-F325-B44865878D7A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F0B4CE85-8778-8754-4938-56851A59AA4F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E64BE3E7-5E55-415F-904B-6401C55F9BAB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5DFAB55C-FE66-B469-4C7C-7E36DB8809CF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4C7B23EE-04B8-B063-BADD-A5280BF12293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ADD3822F-A32F-896B-0A69-040867B478C7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490EA029-4DE3-3CBA-0B02-CB28D207C979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EA1574D7-C3EF-ED90-49C6-B9031E511A3A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86B0FC86-0103-28B3-0EB1-E4F2D385DD5A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2C911162-7F3A-F336-B0CE-AD05C1CD8C20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5A1A6EDE-44A5-949F-A8A6-9DB205ED7505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9C4AF0BF-C92C-2F71-5496-C573D4B7C661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9263FC9A-2208-76C2-97B4-E660E3AC6E1E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1" name="Rectangle 34">
                <a:extLst>
                  <a:ext uri="{FF2B5EF4-FFF2-40B4-BE49-F238E27FC236}">
                    <a16:creationId xmlns:a16="http://schemas.microsoft.com/office/drawing/2014/main" id="{857F154F-FD9B-5B5F-A605-68E493EFFD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5">
                <a:extLst>
                  <a:ext uri="{FF2B5EF4-FFF2-40B4-BE49-F238E27FC236}">
                    <a16:creationId xmlns:a16="http://schemas.microsoft.com/office/drawing/2014/main" id="{5F54BDBE-A9C3-E8C1-DFFD-2BE85D828B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6">
                <a:extLst>
                  <a:ext uri="{FF2B5EF4-FFF2-40B4-BE49-F238E27FC236}">
                    <a16:creationId xmlns:a16="http://schemas.microsoft.com/office/drawing/2014/main" id="{1E8DCE56-C57A-0C94-4651-5F016851EE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7">
                <a:extLst>
                  <a:ext uri="{FF2B5EF4-FFF2-40B4-BE49-F238E27FC236}">
                    <a16:creationId xmlns:a16="http://schemas.microsoft.com/office/drawing/2014/main" id="{587093F0-99FA-2E2C-536F-2470B768AE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8">
                <a:extLst>
                  <a:ext uri="{FF2B5EF4-FFF2-40B4-BE49-F238E27FC236}">
                    <a16:creationId xmlns:a16="http://schemas.microsoft.com/office/drawing/2014/main" id="{C8E42A2C-9049-1259-89FE-F36D0BDDE1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9">
                <a:extLst>
                  <a:ext uri="{FF2B5EF4-FFF2-40B4-BE49-F238E27FC236}">
                    <a16:creationId xmlns:a16="http://schemas.microsoft.com/office/drawing/2014/main" id="{A3C59913-92EC-8D91-631D-EFBA7A6971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0">
                <a:extLst>
                  <a:ext uri="{FF2B5EF4-FFF2-40B4-BE49-F238E27FC236}">
                    <a16:creationId xmlns:a16="http://schemas.microsoft.com/office/drawing/2014/main" id="{603C7151-8A8E-C9C5-10C8-8FF7D3BF55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1">
                <a:extLst>
                  <a:ext uri="{FF2B5EF4-FFF2-40B4-BE49-F238E27FC236}">
                    <a16:creationId xmlns:a16="http://schemas.microsoft.com/office/drawing/2014/main" id="{1CC1F9C2-6219-0E8D-B7BE-0C155EA186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2">
                <a:extLst>
                  <a:ext uri="{FF2B5EF4-FFF2-40B4-BE49-F238E27FC236}">
                    <a16:creationId xmlns:a16="http://schemas.microsoft.com/office/drawing/2014/main" id="{EDCEE747-10EA-2FB4-E4B1-0E8A273423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3">
                <a:extLst>
                  <a:ext uri="{FF2B5EF4-FFF2-40B4-BE49-F238E27FC236}">
                    <a16:creationId xmlns:a16="http://schemas.microsoft.com/office/drawing/2014/main" id="{F639CF95-B2E6-2E19-9AA6-96EC5B2DF1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4">
                <a:extLst>
                  <a:ext uri="{FF2B5EF4-FFF2-40B4-BE49-F238E27FC236}">
                    <a16:creationId xmlns:a16="http://schemas.microsoft.com/office/drawing/2014/main" id="{C84BB334-880A-4E07-240B-98C7FFCEE8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8" name="Slide edges">
              <a:extLst>
                <a:ext uri="{FF2B5EF4-FFF2-40B4-BE49-F238E27FC236}">
                  <a16:creationId xmlns:a16="http://schemas.microsoft.com/office/drawing/2014/main" id="{0244717C-90EE-7FE0-F7A9-295B40CA8D2C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:a16="http://schemas.microsoft.com/office/drawing/2014/main" id="{912DFEDE-A360-057C-C1A8-C597C5E3D7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8A49CAFD-F2A3-0E2A-8884-65672B78BC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A35218ED-FEFE-1537-7AD2-B26145130848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6" name="Rectangle 5">
                <a:extLst>
                  <a:ext uri="{FF2B5EF4-FFF2-40B4-BE49-F238E27FC236}">
                    <a16:creationId xmlns:a16="http://schemas.microsoft.com/office/drawing/2014/main" id="{2F9ED2F6-99C0-ADB9-AD04-118406BC77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7">
                <a:extLst>
                  <a:ext uri="{FF2B5EF4-FFF2-40B4-BE49-F238E27FC236}">
                    <a16:creationId xmlns:a16="http://schemas.microsoft.com/office/drawing/2014/main" id="{A9934554-F5BA-1514-A5F9-92F13F82F7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9">
                <a:extLst>
                  <a:ext uri="{FF2B5EF4-FFF2-40B4-BE49-F238E27FC236}">
                    <a16:creationId xmlns:a16="http://schemas.microsoft.com/office/drawing/2014/main" id="{0516CA90-EC0D-C03B-12B2-D38A28B769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1">
                <a:extLst>
                  <a:ext uri="{FF2B5EF4-FFF2-40B4-BE49-F238E27FC236}">
                    <a16:creationId xmlns:a16="http://schemas.microsoft.com/office/drawing/2014/main" id="{B5AAFC3C-BE18-5CA1-605B-38250C48E0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3">
                <a:extLst>
                  <a:ext uri="{FF2B5EF4-FFF2-40B4-BE49-F238E27FC236}">
                    <a16:creationId xmlns:a16="http://schemas.microsoft.com/office/drawing/2014/main" id="{4420A800-6C5A-A942-3F7D-C8CF333276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4" name="Live area">
              <a:extLst>
                <a:ext uri="{FF2B5EF4-FFF2-40B4-BE49-F238E27FC236}">
                  <a16:creationId xmlns:a16="http://schemas.microsoft.com/office/drawing/2014/main" id="{14D0D647-5C7C-7A77-9E00-BBE7BB9614CA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5" name="Footnote example">
              <a:extLst>
                <a:ext uri="{FF2B5EF4-FFF2-40B4-BE49-F238E27FC236}">
                  <a16:creationId xmlns:a16="http://schemas.microsoft.com/office/drawing/2014/main" id="{1E5F00BB-DD5B-4777-3847-35F2A3ECE2AD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78981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53B40A2-62CB-BFE6-A154-F4538E2C1F18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A70D689F-5D20-404F-9C3C-12663CFA7006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52481987-0396-4B60-D4A2-E7C6D2A6B214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57295CDB-8092-5D2A-33C7-D7A73946FD4E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2FE7B7F8-B041-E647-69F9-5E0B1E055564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69A013F4-C319-415E-0C9B-A467D84F8336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ED81694E-152F-3C63-431B-C550CF035E64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358DAFF6-F071-2869-10D5-AF9575B00F38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1905F202-AF53-B57E-69DA-106D7AD6DAC2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CE7BCD59-CABF-D517-3FF4-D663408E794C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3BA1CDD6-97D7-150D-165B-27790A8254CB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8318D2A2-7EC1-A4CD-2AFF-D07F25559B27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6CFF7516-0354-7AA9-8DCD-4A10B84F7716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E2B6C54C-45CA-08D4-78E8-F2B308BCA76B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3388AAB2-8C96-F8D4-C952-9A28F225E020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BA0E0CFE-72FF-92F1-8D03-99943BF2213B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AE26BF44-4DD6-19B0-618B-A71F812E81F5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4D36F9EF-A84C-CF71-D70D-BF5D7DB33762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466C4F7D-AE0B-A3C8-08B5-84D04DC31603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FE4B7C46-0593-42BD-F659-731D19E2BD8E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E48B1243-5FCA-FB26-A8E3-1A06E328244C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D0BE054E-0AE0-8A78-49EC-945F7D5C4737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A85E4D36-A013-67C7-E008-B40D8F8EA708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AED38153-B921-1A53-9A37-FBBAB5DA3E57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2" name="Rectangle 34">
                <a:extLst>
                  <a:ext uri="{FF2B5EF4-FFF2-40B4-BE49-F238E27FC236}">
                    <a16:creationId xmlns:a16="http://schemas.microsoft.com/office/drawing/2014/main" id="{9D2DFE59-65B2-B689-4F95-47FD30F2D8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5">
                <a:extLst>
                  <a:ext uri="{FF2B5EF4-FFF2-40B4-BE49-F238E27FC236}">
                    <a16:creationId xmlns:a16="http://schemas.microsoft.com/office/drawing/2014/main" id="{DD4EF938-9DE1-333B-F2C6-9216D39354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6">
                <a:extLst>
                  <a:ext uri="{FF2B5EF4-FFF2-40B4-BE49-F238E27FC236}">
                    <a16:creationId xmlns:a16="http://schemas.microsoft.com/office/drawing/2014/main" id="{BFFFA9AB-EC18-6242-3DF3-7B55AFBDC8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7">
                <a:extLst>
                  <a:ext uri="{FF2B5EF4-FFF2-40B4-BE49-F238E27FC236}">
                    <a16:creationId xmlns:a16="http://schemas.microsoft.com/office/drawing/2014/main" id="{B76E5912-0246-0F64-3612-4EC3C6B646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8">
                <a:extLst>
                  <a:ext uri="{FF2B5EF4-FFF2-40B4-BE49-F238E27FC236}">
                    <a16:creationId xmlns:a16="http://schemas.microsoft.com/office/drawing/2014/main" id="{0FA7A90E-FD5D-1D87-674B-10AAFD0CD1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9">
                <a:extLst>
                  <a:ext uri="{FF2B5EF4-FFF2-40B4-BE49-F238E27FC236}">
                    <a16:creationId xmlns:a16="http://schemas.microsoft.com/office/drawing/2014/main" id="{1C8555EC-C57F-29ED-4C50-BF966418F3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0">
                <a:extLst>
                  <a:ext uri="{FF2B5EF4-FFF2-40B4-BE49-F238E27FC236}">
                    <a16:creationId xmlns:a16="http://schemas.microsoft.com/office/drawing/2014/main" id="{523687C3-9B2D-E328-7DED-1B20F25839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1">
                <a:extLst>
                  <a:ext uri="{FF2B5EF4-FFF2-40B4-BE49-F238E27FC236}">
                    <a16:creationId xmlns:a16="http://schemas.microsoft.com/office/drawing/2014/main" id="{BFF64D83-6C1F-BBE6-2006-90612BE1B4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2">
                <a:extLst>
                  <a:ext uri="{FF2B5EF4-FFF2-40B4-BE49-F238E27FC236}">
                    <a16:creationId xmlns:a16="http://schemas.microsoft.com/office/drawing/2014/main" id="{0ED81B58-DA33-EEB3-E1CB-510385E3B3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3">
                <a:extLst>
                  <a:ext uri="{FF2B5EF4-FFF2-40B4-BE49-F238E27FC236}">
                    <a16:creationId xmlns:a16="http://schemas.microsoft.com/office/drawing/2014/main" id="{43FBD820-6703-3F5B-689F-DFF81B0443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4">
                <a:extLst>
                  <a:ext uri="{FF2B5EF4-FFF2-40B4-BE49-F238E27FC236}">
                    <a16:creationId xmlns:a16="http://schemas.microsoft.com/office/drawing/2014/main" id="{CFADF848-46A6-0B3C-7634-7F0428DB5E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55A722D4-B6D7-B4D2-FB9B-76DC5A95F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" name="Footnote measure">
              <a:extLst>
                <a:ext uri="{FF2B5EF4-FFF2-40B4-BE49-F238E27FC236}">
                  <a16:creationId xmlns:a16="http://schemas.microsoft.com/office/drawing/2014/main" id="{F116CE7B-4B06-A4FB-A793-22CFD94F74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Whitespace measure">
              <a:extLst>
                <a:ext uri="{FF2B5EF4-FFF2-40B4-BE49-F238E27FC236}">
                  <a16:creationId xmlns:a16="http://schemas.microsoft.com/office/drawing/2014/main" id="{2D252AFC-6291-10DD-090B-AD228BCF27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Five column measure">
              <a:extLst>
                <a:ext uri="{FF2B5EF4-FFF2-40B4-BE49-F238E27FC236}">
                  <a16:creationId xmlns:a16="http://schemas.microsoft.com/office/drawing/2014/main" id="{B5378498-2B9D-8C8F-99F7-1C2D96D6FAEE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6" name="Rectangle 5">
                <a:extLst>
                  <a:ext uri="{FF2B5EF4-FFF2-40B4-BE49-F238E27FC236}">
                    <a16:creationId xmlns:a16="http://schemas.microsoft.com/office/drawing/2014/main" id="{084ABC81-3879-9C6B-2C94-26CD56F9A1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7">
                <a:extLst>
                  <a:ext uri="{FF2B5EF4-FFF2-40B4-BE49-F238E27FC236}">
                    <a16:creationId xmlns:a16="http://schemas.microsoft.com/office/drawing/2014/main" id="{C1E0ACEF-A79B-8517-1BFB-12AF7A7F49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9">
                <a:extLst>
                  <a:ext uri="{FF2B5EF4-FFF2-40B4-BE49-F238E27FC236}">
                    <a16:creationId xmlns:a16="http://schemas.microsoft.com/office/drawing/2014/main" id="{7D8A0BC7-152E-C31A-8B3C-659D055E2F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1">
                <a:extLst>
                  <a:ext uri="{FF2B5EF4-FFF2-40B4-BE49-F238E27FC236}">
                    <a16:creationId xmlns:a16="http://schemas.microsoft.com/office/drawing/2014/main" id="{54740D3D-4B8F-FEA3-9C8E-3F32C6F497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3">
                <a:extLst>
                  <a:ext uri="{FF2B5EF4-FFF2-40B4-BE49-F238E27FC236}">
                    <a16:creationId xmlns:a16="http://schemas.microsoft.com/office/drawing/2014/main" id="{6BF7218E-1DB0-8790-CCBB-67D375CA40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" name="Live area">
              <a:extLst>
                <a:ext uri="{FF2B5EF4-FFF2-40B4-BE49-F238E27FC236}">
                  <a16:creationId xmlns:a16="http://schemas.microsoft.com/office/drawing/2014/main" id="{D4DB6665-863B-55F9-306C-47D7A9B72C84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1A60AB13-DD8D-5523-2665-D0EC62CC6323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25868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/>
              <a:t>Agenda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B82E238-EB46-086E-53CE-7A0A388E93F3}"/>
              </a:ext>
            </a:extLst>
          </p:cNvPr>
          <p:cNvGrpSpPr/>
          <p:nvPr userDrawn="1">
            <p:custDataLst>
              <p:tags r:id="rId4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3002404F-1ECD-C021-8312-E58270A6CB11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62FCD160-685F-693C-1860-8065BBCF060E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7BE0DF6D-BC7B-8695-D47B-21810A13643B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0E531E6E-8189-9D3C-B0B3-5C147D09AEE3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677AAC8D-B8C2-0EF8-07B2-F1F94B37347E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4218EC20-6BF1-D92F-3D05-20069A08E1E7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44B22DC8-7A41-744D-A9FB-58EF4F362FC7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9AB44DF6-1B6B-9E19-9332-FDD9F4939F2D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AE383328-9819-F2CF-2E03-500B53151C6D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9057CA8B-A696-00C0-5F42-93F066932D25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DFA1E76C-E0BA-DDAD-2DEC-F7A4D83A6FEA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3200D6D5-A2A0-B0BF-64DE-4F6DB34F569A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28B117A1-DB9D-96F4-E461-270578065E2C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36D722BC-C1A1-88F3-4984-26B4A0C74BB1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4B180751-5CA8-FE6B-3C8D-91B30ED06B64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28FC2C75-A00A-5654-A711-C15F674F6A93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DE3627B3-B903-EAD4-DD5D-515DE4DF4772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6A1FC59E-3E9D-470C-1E5B-1085892416F3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DB7C370F-7861-3A7D-B2C7-210720A91707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379A9827-F1AA-3394-3BE9-4F14EF7B9745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E53F9E0E-3662-91CB-5A61-E257933FEC86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00E40620-5431-5AF4-F5F8-45591FCA014C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D118D042-4E63-36BA-48DE-5AB796F1C89C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2" name="Rectangle 34">
                <a:extLst>
                  <a:ext uri="{FF2B5EF4-FFF2-40B4-BE49-F238E27FC236}">
                    <a16:creationId xmlns:a16="http://schemas.microsoft.com/office/drawing/2014/main" id="{5971736E-2432-FFDE-13EF-C9CA90AFD0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5">
                <a:extLst>
                  <a:ext uri="{FF2B5EF4-FFF2-40B4-BE49-F238E27FC236}">
                    <a16:creationId xmlns:a16="http://schemas.microsoft.com/office/drawing/2014/main" id="{83B0F22E-E467-7F18-786D-A48CA3FC12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6">
                <a:extLst>
                  <a:ext uri="{FF2B5EF4-FFF2-40B4-BE49-F238E27FC236}">
                    <a16:creationId xmlns:a16="http://schemas.microsoft.com/office/drawing/2014/main" id="{C860A4DF-1A9D-D071-7201-4364F4997B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7">
                <a:extLst>
                  <a:ext uri="{FF2B5EF4-FFF2-40B4-BE49-F238E27FC236}">
                    <a16:creationId xmlns:a16="http://schemas.microsoft.com/office/drawing/2014/main" id="{337EB0D9-B609-587A-82AD-48378E691C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8">
                <a:extLst>
                  <a:ext uri="{FF2B5EF4-FFF2-40B4-BE49-F238E27FC236}">
                    <a16:creationId xmlns:a16="http://schemas.microsoft.com/office/drawing/2014/main" id="{0596AD05-747A-E7CE-0301-02FAD3F044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9">
                <a:extLst>
                  <a:ext uri="{FF2B5EF4-FFF2-40B4-BE49-F238E27FC236}">
                    <a16:creationId xmlns:a16="http://schemas.microsoft.com/office/drawing/2014/main" id="{327E842E-B0EE-6D8C-3276-CF07C44F99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0">
                <a:extLst>
                  <a:ext uri="{FF2B5EF4-FFF2-40B4-BE49-F238E27FC236}">
                    <a16:creationId xmlns:a16="http://schemas.microsoft.com/office/drawing/2014/main" id="{6DDB79AB-EA3B-7D4B-093D-1F8918F02C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1">
                <a:extLst>
                  <a:ext uri="{FF2B5EF4-FFF2-40B4-BE49-F238E27FC236}">
                    <a16:creationId xmlns:a16="http://schemas.microsoft.com/office/drawing/2014/main" id="{D92D74A7-AC4C-5C65-C7E1-547E2CF39D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2">
                <a:extLst>
                  <a:ext uri="{FF2B5EF4-FFF2-40B4-BE49-F238E27FC236}">
                    <a16:creationId xmlns:a16="http://schemas.microsoft.com/office/drawing/2014/main" id="{600F4C41-E387-8771-2FE8-B2F1F063B4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3">
                <a:extLst>
                  <a:ext uri="{FF2B5EF4-FFF2-40B4-BE49-F238E27FC236}">
                    <a16:creationId xmlns:a16="http://schemas.microsoft.com/office/drawing/2014/main" id="{BACA0354-CABC-5A93-F9CE-76B9ED05FD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4">
                <a:extLst>
                  <a:ext uri="{FF2B5EF4-FFF2-40B4-BE49-F238E27FC236}">
                    <a16:creationId xmlns:a16="http://schemas.microsoft.com/office/drawing/2014/main" id="{1EC08953-125A-1180-4FA4-DD2D8FBCC1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5E27AAE8-8410-3F99-4B74-1F1351B51458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2" name="Footnote measure">
              <a:extLst>
                <a:ext uri="{FF2B5EF4-FFF2-40B4-BE49-F238E27FC236}">
                  <a16:creationId xmlns:a16="http://schemas.microsoft.com/office/drawing/2014/main" id="{1AEEAC75-4E26-9132-C139-ACDB0E1545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Whitespace measure">
              <a:extLst>
                <a:ext uri="{FF2B5EF4-FFF2-40B4-BE49-F238E27FC236}">
                  <a16:creationId xmlns:a16="http://schemas.microsoft.com/office/drawing/2014/main" id="{891C3796-1A58-7EFE-3CA9-C29CCCEE1A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4" name="Five column measure">
              <a:extLst>
                <a:ext uri="{FF2B5EF4-FFF2-40B4-BE49-F238E27FC236}">
                  <a16:creationId xmlns:a16="http://schemas.microsoft.com/office/drawing/2014/main" id="{C1931212-B25E-AE07-2293-D5C89356E300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7" name="Rectangle 5">
                <a:extLst>
                  <a:ext uri="{FF2B5EF4-FFF2-40B4-BE49-F238E27FC236}">
                    <a16:creationId xmlns:a16="http://schemas.microsoft.com/office/drawing/2014/main" id="{E0682460-9AF4-B08B-3F80-79B192A016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7">
                <a:extLst>
                  <a:ext uri="{FF2B5EF4-FFF2-40B4-BE49-F238E27FC236}">
                    <a16:creationId xmlns:a16="http://schemas.microsoft.com/office/drawing/2014/main" id="{9080D528-C95D-136E-8E6B-6CC6BFE750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9">
                <a:extLst>
                  <a:ext uri="{FF2B5EF4-FFF2-40B4-BE49-F238E27FC236}">
                    <a16:creationId xmlns:a16="http://schemas.microsoft.com/office/drawing/2014/main" id="{A1475D7A-6F92-C657-7D4F-26CDD7C041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1">
                <a:extLst>
                  <a:ext uri="{FF2B5EF4-FFF2-40B4-BE49-F238E27FC236}">
                    <a16:creationId xmlns:a16="http://schemas.microsoft.com/office/drawing/2014/main" id="{869A1122-5EB7-B5BA-1AA0-068E73F9AA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3">
                <a:extLst>
                  <a:ext uri="{FF2B5EF4-FFF2-40B4-BE49-F238E27FC236}">
                    <a16:creationId xmlns:a16="http://schemas.microsoft.com/office/drawing/2014/main" id="{95BC6534-FF48-43AA-4F17-3665CFD4B0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5" name="Live area">
              <a:extLst>
                <a:ext uri="{FF2B5EF4-FFF2-40B4-BE49-F238E27FC236}">
                  <a16:creationId xmlns:a16="http://schemas.microsoft.com/office/drawing/2014/main" id="{00E9B06D-6D6B-1328-1435-294C3594A2EC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6" name="Footnote example">
              <a:extLst>
                <a:ext uri="{FF2B5EF4-FFF2-40B4-BE49-F238E27FC236}">
                  <a16:creationId xmlns:a16="http://schemas.microsoft.com/office/drawing/2014/main" id="{248B5C0E-9521-032C-5268-9412A41E5F47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04949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3EDB2C0-AF48-21C5-7618-F470D5BBF1A7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DD10C4DE-7D4E-5F6A-F749-398FADCE70FF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F8677D7B-D1BD-3C38-3133-04DF44E6AD75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5622B22B-6A48-D4ED-92A4-996000412883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5342E01F-8F5A-7B70-F6E0-93F79BC0B753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9D4CCED1-D4D9-ED20-0A7C-7AC8A7FE5879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DFCBE384-1D33-2CDE-743A-6F965373249F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FA320FE1-A2AA-8A2E-8F05-5A17DDF5D063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5889C783-37B8-721A-3357-76FDF4A7A553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536A099B-60AA-049A-24FD-EA7F572299B9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E1CC3F87-9AAA-684F-7186-7157EA825A5B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3B01BDC4-EDEA-9A0C-5103-A08F4E580457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23D01A55-AB21-70A0-36A9-E7460F6E9C41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509DA028-0B3C-8493-5A3E-2ADF38570BB0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6F58547B-F38E-8F8C-6328-ED6FB6432169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0E3F3C19-BD4C-075F-85EB-6D6C4246A4F2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703BFECA-8E8E-7BAC-2E73-E1201C35F8F1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C9804AB6-7B81-C06C-F56A-97857172E0E9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04516B5C-370A-68C6-22FE-E836A053901B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CA8F2BA4-26FB-4BDF-88C0-645708213B33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785FA3AF-17F4-EA66-7247-13ACB844474C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D3914F8A-D563-56D4-5690-308173045903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CD4AAB77-D8C4-3C7E-2053-9178627D6883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907D5EA8-1CB7-57B7-9D3D-325DE25BE9E2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0" name="Rectangle 34">
                <a:extLst>
                  <a:ext uri="{FF2B5EF4-FFF2-40B4-BE49-F238E27FC236}">
                    <a16:creationId xmlns:a16="http://schemas.microsoft.com/office/drawing/2014/main" id="{85D06920-890F-2F02-A2AB-88168D3997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35">
                <a:extLst>
                  <a:ext uri="{FF2B5EF4-FFF2-40B4-BE49-F238E27FC236}">
                    <a16:creationId xmlns:a16="http://schemas.microsoft.com/office/drawing/2014/main" id="{EA4830F4-5ECC-08C5-C67D-48DF00EF6E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6">
                <a:extLst>
                  <a:ext uri="{FF2B5EF4-FFF2-40B4-BE49-F238E27FC236}">
                    <a16:creationId xmlns:a16="http://schemas.microsoft.com/office/drawing/2014/main" id="{3ACE1FB9-BBFC-DF52-D8AB-8410E080EA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7">
                <a:extLst>
                  <a:ext uri="{FF2B5EF4-FFF2-40B4-BE49-F238E27FC236}">
                    <a16:creationId xmlns:a16="http://schemas.microsoft.com/office/drawing/2014/main" id="{CCE0E33F-5B8C-19B1-69A6-5E451F6893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8">
                <a:extLst>
                  <a:ext uri="{FF2B5EF4-FFF2-40B4-BE49-F238E27FC236}">
                    <a16:creationId xmlns:a16="http://schemas.microsoft.com/office/drawing/2014/main" id="{C2C4EAAC-810F-9026-CD5A-181AAF34C7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9">
                <a:extLst>
                  <a:ext uri="{FF2B5EF4-FFF2-40B4-BE49-F238E27FC236}">
                    <a16:creationId xmlns:a16="http://schemas.microsoft.com/office/drawing/2014/main" id="{21A62B57-BC37-AD0E-444E-87EA6DBE4B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40">
                <a:extLst>
                  <a:ext uri="{FF2B5EF4-FFF2-40B4-BE49-F238E27FC236}">
                    <a16:creationId xmlns:a16="http://schemas.microsoft.com/office/drawing/2014/main" id="{2F243154-5D9F-02BB-C909-7F595C67AB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1">
                <a:extLst>
                  <a:ext uri="{FF2B5EF4-FFF2-40B4-BE49-F238E27FC236}">
                    <a16:creationId xmlns:a16="http://schemas.microsoft.com/office/drawing/2014/main" id="{72FFC936-B1C8-B51F-1008-C295EDC55D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2">
                <a:extLst>
                  <a:ext uri="{FF2B5EF4-FFF2-40B4-BE49-F238E27FC236}">
                    <a16:creationId xmlns:a16="http://schemas.microsoft.com/office/drawing/2014/main" id="{91A57887-D689-8077-C999-E53FFA071A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3">
                <a:extLst>
                  <a:ext uri="{FF2B5EF4-FFF2-40B4-BE49-F238E27FC236}">
                    <a16:creationId xmlns:a16="http://schemas.microsoft.com/office/drawing/2014/main" id="{7EE5AB43-28A6-198C-8BAA-CB865B865C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4">
                <a:extLst>
                  <a:ext uri="{FF2B5EF4-FFF2-40B4-BE49-F238E27FC236}">
                    <a16:creationId xmlns:a16="http://schemas.microsoft.com/office/drawing/2014/main" id="{10B22EB3-5071-BD0C-4EB5-3A415B1EE8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9C38D8D7-E9F6-1069-87CE-4E9C41BBBBA3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:a16="http://schemas.microsoft.com/office/drawing/2014/main" id="{F4F69A46-EE78-30BE-85D0-229381C659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F93A3DDE-36C2-50B2-2100-7289C06094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6CAB9A8A-1C59-7544-4064-EBD0768ABFDA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" name="Rectangle 5">
                <a:extLst>
                  <a:ext uri="{FF2B5EF4-FFF2-40B4-BE49-F238E27FC236}">
                    <a16:creationId xmlns:a16="http://schemas.microsoft.com/office/drawing/2014/main" id="{E1801A3B-6AE6-59DA-708E-743E9D805E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7">
                <a:extLst>
                  <a:ext uri="{FF2B5EF4-FFF2-40B4-BE49-F238E27FC236}">
                    <a16:creationId xmlns:a16="http://schemas.microsoft.com/office/drawing/2014/main" id="{1A162AFC-BD32-69EE-37B4-1684718C70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9">
                <a:extLst>
                  <a:ext uri="{FF2B5EF4-FFF2-40B4-BE49-F238E27FC236}">
                    <a16:creationId xmlns:a16="http://schemas.microsoft.com/office/drawing/2014/main" id="{356661F3-5009-666F-5E0D-F775DBB9F8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11">
                <a:extLst>
                  <a:ext uri="{FF2B5EF4-FFF2-40B4-BE49-F238E27FC236}">
                    <a16:creationId xmlns:a16="http://schemas.microsoft.com/office/drawing/2014/main" id="{4AF0FE03-2E0A-578A-AF08-C27119B496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3">
                <a:extLst>
                  <a:ext uri="{FF2B5EF4-FFF2-40B4-BE49-F238E27FC236}">
                    <a16:creationId xmlns:a16="http://schemas.microsoft.com/office/drawing/2014/main" id="{82367EFE-3F17-CDF4-FBF9-0F2B3FE1BE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3" name="Live area">
              <a:extLst>
                <a:ext uri="{FF2B5EF4-FFF2-40B4-BE49-F238E27FC236}">
                  <a16:creationId xmlns:a16="http://schemas.microsoft.com/office/drawing/2014/main" id="{D6CBDEF2-74C4-4AC7-25D7-F1EF3CEFF19E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DC5BE382-09A9-DC58-E580-8D2778913422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53718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BD8AAD3A-4BA8-C6C0-BEF4-F07B136DD32E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E8F40D71-2474-3BFE-2AC8-1F9FAC1FAAB1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229547BF-46D8-2F07-4EDB-D52AA50A0ABC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14A8DBCF-8125-50DF-8D85-2FE8D765D69C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BB5DC483-E73F-379D-72F0-27C3B6D95C48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0D903777-94EA-23A7-95F4-A5127609E736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24DEAAC0-95AD-6664-168B-FBFC10747EDA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4A622BFC-C08B-A04F-3F23-F63198152D54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140B08B0-8876-1E33-5E9C-59A5ED4C62C2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0848D573-5337-976A-CB48-4F081A3B63E4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B1BF68E8-C507-1968-A963-7D5FD2C3A95E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68565FCD-1AA7-3309-CE00-497D9CEDAD34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AABB8E2A-AA06-826B-3EDC-F59636AF7E50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45A38207-72E5-81B9-915F-AD7ECD9F7277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B08C6511-1A9E-39C3-7F7E-8FF44F91DFD4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71362570-4782-394E-A684-8A0F3424C539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2A46672C-D2B8-71F5-5BF3-693BBA43E96F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F51F805D-451D-FD26-984D-DD37C989E018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3731D28D-1E1A-3C58-C013-BD73662008DD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DE7E9CA8-DF01-8CEB-70C7-21B01C69B1A2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676D7F82-51D3-914B-3486-25CAC02BE171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A92D1638-F9AD-C6A3-BAF7-912BC2B173A7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307CE999-8CD8-32EE-7481-BE2084227466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6C9B998D-F8B1-7D0A-1450-314236E622F0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0" name="Rectangle 34">
                <a:extLst>
                  <a:ext uri="{FF2B5EF4-FFF2-40B4-BE49-F238E27FC236}">
                    <a16:creationId xmlns:a16="http://schemas.microsoft.com/office/drawing/2014/main" id="{4A9F0DD0-BEEA-FE2B-44C8-BBEC5CC0E9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35">
                <a:extLst>
                  <a:ext uri="{FF2B5EF4-FFF2-40B4-BE49-F238E27FC236}">
                    <a16:creationId xmlns:a16="http://schemas.microsoft.com/office/drawing/2014/main" id="{CAF76458-FF0D-71AE-A0ED-DF4E9F58F0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6">
                <a:extLst>
                  <a:ext uri="{FF2B5EF4-FFF2-40B4-BE49-F238E27FC236}">
                    <a16:creationId xmlns:a16="http://schemas.microsoft.com/office/drawing/2014/main" id="{21CA625A-3BD3-1879-1570-38102D8A58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7">
                <a:extLst>
                  <a:ext uri="{FF2B5EF4-FFF2-40B4-BE49-F238E27FC236}">
                    <a16:creationId xmlns:a16="http://schemas.microsoft.com/office/drawing/2014/main" id="{EAE55BCD-04CA-C828-0891-9CBF602206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8">
                <a:extLst>
                  <a:ext uri="{FF2B5EF4-FFF2-40B4-BE49-F238E27FC236}">
                    <a16:creationId xmlns:a16="http://schemas.microsoft.com/office/drawing/2014/main" id="{C42330B9-0C6C-F545-DCB0-4CA57CAEC1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9">
                <a:extLst>
                  <a:ext uri="{FF2B5EF4-FFF2-40B4-BE49-F238E27FC236}">
                    <a16:creationId xmlns:a16="http://schemas.microsoft.com/office/drawing/2014/main" id="{4013B47C-5FB9-7EA5-9533-91E6A04697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40">
                <a:extLst>
                  <a:ext uri="{FF2B5EF4-FFF2-40B4-BE49-F238E27FC236}">
                    <a16:creationId xmlns:a16="http://schemas.microsoft.com/office/drawing/2014/main" id="{4C46425D-0DAE-8DB2-CA03-3C3C2BBDE7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1">
                <a:extLst>
                  <a:ext uri="{FF2B5EF4-FFF2-40B4-BE49-F238E27FC236}">
                    <a16:creationId xmlns:a16="http://schemas.microsoft.com/office/drawing/2014/main" id="{B27D1428-DEE0-3674-014D-8AF3BF9E42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2">
                <a:extLst>
                  <a:ext uri="{FF2B5EF4-FFF2-40B4-BE49-F238E27FC236}">
                    <a16:creationId xmlns:a16="http://schemas.microsoft.com/office/drawing/2014/main" id="{5C100D9D-57DB-A10A-62EF-32F5439618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3">
                <a:extLst>
                  <a:ext uri="{FF2B5EF4-FFF2-40B4-BE49-F238E27FC236}">
                    <a16:creationId xmlns:a16="http://schemas.microsoft.com/office/drawing/2014/main" id="{1F08B753-FE4A-7AD0-5E13-AA999C8148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4">
                <a:extLst>
                  <a:ext uri="{FF2B5EF4-FFF2-40B4-BE49-F238E27FC236}">
                    <a16:creationId xmlns:a16="http://schemas.microsoft.com/office/drawing/2014/main" id="{1F00EFF2-53A1-31DD-BF04-3592E98680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8" name="Slide edges">
              <a:extLst>
                <a:ext uri="{FF2B5EF4-FFF2-40B4-BE49-F238E27FC236}">
                  <a16:creationId xmlns:a16="http://schemas.microsoft.com/office/drawing/2014/main" id="{59C444C0-EE6C-0670-F953-30286186F806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0" name="Footnote measure">
              <a:extLst>
                <a:ext uri="{FF2B5EF4-FFF2-40B4-BE49-F238E27FC236}">
                  <a16:creationId xmlns:a16="http://schemas.microsoft.com/office/drawing/2014/main" id="{5F9DF5C4-A5B0-D353-BA97-38A3E2907E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76111A26-22F8-BA14-B376-16BC985986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A873E890-FB72-9050-4616-E8D60B0B29DC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" name="Rectangle 5">
                <a:extLst>
                  <a:ext uri="{FF2B5EF4-FFF2-40B4-BE49-F238E27FC236}">
                    <a16:creationId xmlns:a16="http://schemas.microsoft.com/office/drawing/2014/main" id="{F776F7F5-9DE7-1CDA-3FDF-2217FA6395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7">
                <a:extLst>
                  <a:ext uri="{FF2B5EF4-FFF2-40B4-BE49-F238E27FC236}">
                    <a16:creationId xmlns:a16="http://schemas.microsoft.com/office/drawing/2014/main" id="{C1A4E605-DADB-21AD-648A-B478F60B3E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9">
                <a:extLst>
                  <a:ext uri="{FF2B5EF4-FFF2-40B4-BE49-F238E27FC236}">
                    <a16:creationId xmlns:a16="http://schemas.microsoft.com/office/drawing/2014/main" id="{D4C350D2-99E5-AD2E-9F03-57E7E14DAB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11">
                <a:extLst>
                  <a:ext uri="{FF2B5EF4-FFF2-40B4-BE49-F238E27FC236}">
                    <a16:creationId xmlns:a16="http://schemas.microsoft.com/office/drawing/2014/main" id="{8833CCCE-FB6C-1549-2ABB-927C0C00528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3">
                <a:extLst>
                  <a:ext uri="{FF2B5EF4-FFF2-40B4-BE49-F238E27FC236}">
                    <a16:creationId xmlns:a16="http://schemas.microsoft.com/office/drawing/2014/main" id="{F1804BBF-DE87-72F7-9E9E-66B0072E8A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3" name="Live area">
              <a:extLst>
                <a:ext uri="{FF2B5EF4-FFF2-40B4-BE49-F238E27FC236}">
                  <a16:creationId xmlns:a16="http://schemas.microsoft.com/office/drawing/2014/main" id="{6FC522CC-E915-F746-4A50-635F6374DF33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D6B30CE3-3A99-CEDE-BC45-C841AB0D4F0F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7060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B8C26CB-65B4-2038-91E7-FA6998900891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C44C7806-4A31-0808-767B-C9070F08A14A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A710E714-7F91-E802-6FAC-CC8CD39D9318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B4799581-49D3-F22D-C007-89867B686DF9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74644D1E-DD56-A6A8-FC15-4EE92484806A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B3543744-1F5F-66EF-72AE-897A50D662F9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89355F83-89D9-2E6B-698F-96E7587CCF7B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AE82A1AA-9693-1DF3-C351-0298897F9A82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7ACF76D5-043A-E969-88A8-028D1BB8378C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19D864B0-012C-0209-29C5-22FA2AAA2AE3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08B66C1D-8ACF-F3E9-92F4-DC9E31E1D3F2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941D29B0-2022-591F-D8D1-202176ABA63E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8790B98D-8ACD-2C91-86C6-590989DCD849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27737176-81B1-2FDB-8666-01B69E0933DB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71698340-159A-ED04-4B24-01D1D7C84C61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6F4D7575-2648-EC21-9C90-74F3D6F6AC10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5072ED52-F33D-A5F9-C491-8E3E35A51DC1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14C5400D-6DBD-E005-1B6D-5E3840DD0CDF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FB9DAC99-0A45-AA06-6BA6-3D460BF4D3D5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F59F1C4D-395A-1451-27D3-BD68B173403A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DDE1BFF6-E7E4-3B18-8434-F6038E28745E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B53E18C8-0E21-EA86-BB38-67D4B53FA56D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24C54585-2ABF-660E-A231-A08585916DE0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7AFB2EC8-7686-864C-B16A-1AF90E35D9EF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9" name="Rectangle 34">
                <a:extLst>
                  <a:ext uri="{FF2B5EF4-FFF2-40B4-BE49-F238E27FC236}">
                    <a16:creationId xmlns:a16="http://schemas.microsoft.com/office/drawing/2014/main" id="{C50CDCA6-C9C9-ADCC-43FF-88BEDEA64C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35">
                <a:extLst>
                  <a:ext uri="{FF2B5EF4-FFF2-40B4-BE49-F238E27FC236}">
                    <a16:creationId xmlns:a16="http://schemas.microsoft.com/office/drawing/2014/main" id="{E3C6D769-098A-2E7C-E936-8CD3B9FF70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36">
                <a:extLst>
                  <a:ext uri="{FF2B5EF4-FFF2-40B4-BE49-F238E27FC236}">
                    <a16:creationId xmlns:a16="http://schemas.microsoft.com/office/drawing/2014/main" id="{167E9D91-E27F-0827-ED60-C7E64733EC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7">
                <a:extLst>
                  <a:ext uri="{FF2B5EF4-FFF2-40B4-BE49-F238E27FC236}">
                    <a16:creationId xmlns:a16="http://schemas.microsoft.com/office/drawing/2014/main" id="{01D3DD48-02EF-E290-011A-203AA77346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8">
                <a:extLst>
                  <a:ext uri="{FF2B5EF4-FFF2-40B4-BE49-F238E27FC236}">
                    <a16:creationId xmlns:a16="http://schemas.microsoft.com/office/drawing/2014/main" id="{CA1E1A60-DB79-140E-BF97-2AE15973AD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9">
                <a:extLst>
                  <a:ext uri="{FF2B5EF4-FFF2-40B4-BE49-F238E27FC236}">
                    <a16:creationId xmlns:a16="http://schemas.microsoft.com/office/drawing/2014/main" id="{B07F55B3-C00D-FB3F-182C-9E8C3A44A6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0">
                <a:extLst>
                  <a:ext uri="{FF2B5EF4-FFF2-40B4-BE49-F238E27FC236}">
                    <a16:creationId xmlns:a16="http://schemas.microsoft.com/office/drawing/2014/main" id="{E8F4915C-8275-1613-FD7E-716FCD5FA88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1">
                <a:extLst>
                  <a:ext uri="{FF2B5EF4-FFF2-40B4-BE49-F238E27FC236}">
                    <a16:creationId xmlns:a16="http://schemas.microsoft.com/office/drawing/2014/main" id="{AC012127-D1A2-8E73-AD9C-17F4C9EA8D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2">
                <a:extLst>
                  <a:ext uri="{FF2B5EF4-FFF2-40B4-BE49-F238E27FC236}">
                    <a16:creationId xmlns:a16="http://schemas.microsoft.com/office/drawing/2014/main" id="{21CFEF34-BBD9-D683-BE13-BAA9C34A27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3">
                <a:extLst>
                  <a:ext uri="{FF2B5EF4-FFF2-40B4-BE49-F238E27FC236}">
                    <a16:creationId xmlns:a16="http://schemas.microsoft.com/office/drawing/2014/main" id="{258D1CB3-0502-5FEB-94E5-47E76C0DF4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4">
                <a:extLst>
                  <a:ext uri="{FF2B5EF4-FFF2-40B4-BE49-F238E27FC236}">
                    <a16:creationId xmlns:a16="http://schemas.microsoft.com/office/drawing/2014/main" id="{6865226A-4739-85AA-9EF3-AA06BCA951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C1E48541-BF43-66BF-C7D0-D4416C1601BB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" name="Footnote measure">
              <a:extLst>
                <a:ext uri="{FF2B5EF4-FFF2-40B4-BE49-F238E27FC236}">
                  <a16:creationId xmlns:a16="http://schemas.microsoft.com/office/drawing/2014/main" id="{D95A1936-A6E4-06E1-0715-AA7E16CA33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Whitespace measure">
              <a:extLst>
                <a:ext uri="{FF2B5EF4-FFF2-40B4-BE49-F238E27FC236}">
                  <a16:creationId xmlns:a16="http://schemas.microsoft.com/office/drawing/2014/main" id="{DE792B22-CA25-750E-1E58-ECE2A2B5E8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Five column measure">
              <a:extLst>
                <a:ext uri="{FF2B5EF4-FFF2-40B4-BE49-F238E27FC236}">
                  <a16:creationId xmlns:a16="http://schemas.microsoft.com/office/drawing/2014/main" id="{33384348-2BBA-D4CC-927D-15CC44C3DAD3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4" name="Rectangle 5">
                <a:extLst>
                  <a:ext uri="{FF2B5EF4-FFF2-40B4-BE49-F238E27FC236}">
                    <a16:creationId xmlns:a16="http://schemas.microsoft.com/office/drawing/2014/main" id="{4257EC65-AAA5-26B3-154C-CDB169493B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Rectangle 7">
                <a:extLst>
                  <a:ext uri="{FF2B5EF4-FFF2-40B4-BE49-F238E27FC236}">
                    <a16:creationId xmlns:a16="http://schemas.microsoft.com/office/drawing/2014/main" id="{6FA82C4B-054E-84CE-3DC3-85ACCA1E4E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9">
                <a:extLst>
                  <a:ext uri="{FF2B5EF4-FFF2-40B4-BE49-F238E27FC236}">
                    <a16:creationId xmlns:a16="http://schemas.microsoft.com/office/drawing/2014/main" id="{782AA1AB-8A40-172A-643A-ADD58F0444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11">
                <a:extLst>
                  <a:ext uri="{FF2B5EF4-FFF2-40B4-BE49-F238E27FC236}">
                    <a16:creationId xmlns:a16="http://schemas.microsoft.com/office/drawing/2014/main" id="{C792D1CB-4416-5C5F-DC0B-A0787F37AC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13">
                <a:extLst>
                  <a:ext uri="{FF2B5EF4-FFF2-40B4-BE49-F238E27FC236}">
                    <a16:creationId xmlns:a16="http://schemas.microsoft.com/office/drawing/2014/main" id="{46CC7EA3-BD68-47A0-F335-9CF580519D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" name="Live area">
              <a:extLst>
                <a:ext uri="{FF2B5EF4-FFF2-40B4-BE49-F238E27FC236}">
                  <a16:creationId xmlns:a16="http://schemas.microsoft.com/office/drawing/2014/main" id="{256F40DD-7ED1-242C-5CD9-AE49E8CE0283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3" name="Footnote example">
              <a:extLst>
                <a:ext uri="{FF2B5EF4-FFF2-40B4-BE49-F238E27FC236}">
                  <a16:creationId xmlns:a16="http://schemas.microsoft.com/office/drawing/2014/main" id="{8D3DBAFA-9B90-4FCF-69FA-EE0C72704427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20507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974C62D5-9EB9-4252-1770-34A4BE34E8B7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D187CAE6-B625-0EF9-2DEC-4E7DC8D4B689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F67581A9-70B0-2808-6C83-EAC62245B8D9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5E037942-D76E-51E4-4E3F-7C415FFFBF48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E4C84BB9-573A-4571-FBD8-D46783429896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DCC159A9-9A06-9DC6-6ED7-77FAB3FACDD5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E08C9F0C-86AD-4487-8468-A42519C9571B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6BBF1C3C-BE84-8D1C-487A-FC2F60843D78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197E3D6F-27B5-957B-BF1B-82A8349027C4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75B51453-9D29-7167-199C-56809B759C73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1B1FC34D-8251-03C6-56EB-A55B1A2C26FE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01403AC0-F31D-AAF4-F666-308046392956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5387941B-D119-884C-0C1F-E7D719718209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4AD8B9D5-4688-7CC6-E2B9-AA384C83F472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677815D5-32F6-6ECE-E5CF-8FC7643AAF1F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874D43A6-9E70-73BC-FC13-DB73AEADBAC5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79CAD7C3-EF1B-772A-C9D8-401870119616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9D35B2C9-1BA1-C419-9654-7C7C4A47FF75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4FADE188-B10B-4028-030F-40F312DE4700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44A591A5-CA58-CBA8-3F3D-BBCB8B05A94E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AC56E378-8BE0-9A72-179E-739EF2E9EBC7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1C6710F9-EBDA-D966-F888-F25BE0DAC50E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68B1FF72-AA00-C164-1D76-A4CA16B96C6F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7E9B83AF-CA3F-3FC5-4E1B-EE65F1C7203E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3" name="Rectangle 34">
                <a:extLst>
                  <a:ext uri="{FF2B5EF4-FFF2-40B4-BE49-F238E27FC236}">
                    <a16:creationId xmlns:a16="http://schemas.microsoft.com/office/drawing/2014/main" id="{910BC585-16CF-800D-2334-930F923A47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5">
                <a:extLst>
                  <a:ext uri="{FF2B5EF4-FFF2-40B4-BE49-F238E27FC236}">
                    <a16:creationId xmlns:a16="http://schemas.microsoft.com/office/drawing/2014/main" id="{3F9E8C26-8625-0F03-FBBE-53CB219057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6">
                <a:extLst>
                  <a:ext uri="{FF2B5EF4-FFF2-40B4-BE49-F238E27FC236}">
                    <a16:creationId xmlns:a16="http://schemas.microsoft.com/office/drawing/2014/main" id="{8F4DF986-62D3-C4ED-1B88-D9A70EDF0E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7">
                <a:extLst>
                  <a:ext uri="{FF2B5EF4-FFF2-40B4-BE49-F238E27FC236}">
                    <a16:creationId xmlns:a16="http://schemas.microsoft.com/office/drawing/2014/main" id="{79D089F7-5622-026E-3143-2A3CB26E38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8">
                <a:extLst>
                  <a:ext uri="{FF2B5EF4-FFF2-40B4-BE49-F238E27FC236}">
                    <a16:creationId xmlns:a16="http://schemas.microsoft.com/office/drawing/2014/main" id="{4DD4FE52-16B5-DF67-D2D1-334C32D0C7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39">
                <a:extLst>
                  <a:ext uri="{FF2B5EF4-FFF2-40B4-BE49-F238E27FC236}">
                    <a16:creationId xmlns:a16="http://schemas.microsoft.com/office/drawing/2014/main" id="{E18E8AFB-6B11-259E-B9CA-7AAE7E4508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0">
                <a:extLst>
                  <a:ext uri="{FF2B5EF4-FFF2-40B4-BE49-F238E27FC236}">
                    <a16:creationId xmlns:a16="http://schemas.microsoft.com/office/drawing/2014/main" id="{08F33D0F-A36B-F8FC-CFE7-454CFEAB74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1">
                <a:extLst>
                  <a:ext uri="{FF2B5EF4-FFF2-40B4-BE49-F238E27FC236}">
                    <a16:creationId xmlns:a16="http://schemas.microsoft.com/office/drawing/2014/main" id="{48667296-9D61-6C86-4DED-7CFEB9B095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2">
                <a:extLst>
                  <a:ext uri="{FF2B5EF4-FFF2-40B4-BE49-F238E27FC236}">
                    <a16:creationId xmlns:a16="http://schemas.microsoft.com/office/drawing/2014/main" id="{D14707C2-E913-CF6F-B5F4-D77BEDE252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3">
                <a:extLst>
                  <a:ext uri="{FF2B5EF4-FFF2-40B4-BE49-F238E27FC236}">
                    <a16:creationId xmlns:a16="http://schemas.microsoft.com/office/drawing/2014/main" id="{83B94E7B-4925-DCBB-034B-5AABD38326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44">
                <a:extLst>
                  <a:ext uri="{FF2B5EF4-FFF2-40B4-BE49-F238E27FC236}">
                    <a16:creationId xmlns:a16="http://schemas.microsoft.com/office/drawing/2014/main" id="{58CF370E-12FB-1642-C4BA-FC1BA9E1CF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4B8CAA7B-A80C-B2E3-B57C-0573A8BE6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" name="Footnote measure">
              <a:extLst>
                <a:ext uri="{FF2B5EF4-FFF2-40B4-BE49-F238E27FC236}">
                  <a16:creationId xmlns:a16="http://schemas.microsoft.com/office/drawing/2014/main" id="{34FD3AD2-0BA3-FD5D-4B05-343C096FC0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Whitespace measure">
              <a:extLst>
                <a:ext uri="{FF2B5EF4-FFF2-40B4-BE49-F238E27FC236}">
                  <a16:creationId xmlns:a16="http://schemas.microsoft.com/office/drawing/2014/main" id="{F9EF54AC-E1CC-3463-854D-CA7641FF48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Five column measure">
              <a:extLst>
                <a:ext uri="{FF2B5EF4-FFF2-40B4-BE49-F238E27FC236}">
                  <a16:creationId xmlns:a16="http://schemas.microsoft.com/office/drawing/2014/main" id="{71295B67-A19E-FA77-A842-F0156A7C3DD0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" name="Rectangle 5">
                <a:extLst>
                  <a:ext uri="{FF2B5EF4-FFF2-40B4-BE49-F238E27FC236}">
                    <a16:creationId xmlns:a16="http://schemas.microsoft.com/office/drawing/2014/main" id="{625EDE0E-5CEC-978E-867F-7462F105AD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7">
                <a:extLst>
                  <a:ext uri="{FF2B5EF4-FFF2-40B4-BE49-F238E27FC236}">
                    <a16:creationId xmlns:a16="http://schemas.microsoft.com/office/drawing/2014/main" id="{0A31812E-F443-8D73-8E11-4FA54091A5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9">
                <a:extLst>
                  <a:ext uri="{FF2B5EF4-FFF2-40B4-BE49-F238E27FC236}">
                    <a16:creationId xmlns:a16="http://schemas.microsoft.com/office/drawing/2014/main" id="{3EF15336-FF12-B416-4873-D5E36E6E25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1">
                <a:extLst>
                  <a:ext uri="{FF2B5EF4-FFF2-40B4-BE49-F238E27FC236}">
                    <a16:creationId xmlns:a16="http://schemas.microsoft.com/office/drawing/2014/main" id="{99EB43BE-710E-E73D-9E14-D068152845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13">
                <a:extLst>
                  <a:ext uri="{FF2B5EF4-FFF2-40B4-BE49-F238E27FC236}">
                    <a16:creationId xmlns:a16="http://schemas.microsoft.com/office/drawing/2014/main" id="{FFCC2593-D134-2A02-269A-1FFF60246E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" name="Live area">
              <a:extLst>
                <a:ext uri="{FF2B5EF4-FFF2-40B4-BE49-F238E27FC236}">
                  <a16:creationId xmlns:a16="http://schemas.microsoft.com/office/drawing/2014/main" id="{71770124-0D13-E4C3-39BD-3C85DB55125D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2580DA0E-109D-939A-0F91-856EFBCD5336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32429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F8E775C-9568-87FA-EC9C-BF3544568D21}"/>
              </a:ext>
            </a:extLst>
          </p:cNvPr>
          <p:cNvGrpSpPr/>
          <p:nvPr userDrawn="1">
            <p:custDataLst>
              <p:tags r:id="rId4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" name="No fly zone">
              <a:extLst>
                <a:ext uri="{FF2B5EF4-FFF2-40B4-BE49-F238E27FC236}">
                  <a16:creationId xmlns:a16="http://schemas.microsoft.com/office/drawing/2014/main" id="{5CD4C03F-697B-84C9-925E-66200BC91F41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6" name="Baselines / anchors">
              <a:extLst>
                <a:ext uri="{FF2B5EF4-FFF2-40B4-BE49-F238E27FC236}">
                  <a16:creationId xmlns:a16="http://schemas.microsoft.com/office/drawing/2014/main" id="{3412209F-583B-EF5E-6A65-C9959C4E1844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78D91E66-52C1-8210-1680-A283BF13CE33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3383D696-E2C5-0576-1C35-7EAF43E01624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71F4451C-FE5A-45A8-1730-2D0ACABF90FF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11196B68-5643-52D5-C3B9-A616D7B87432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37583954-B6F9-9803-2275-26ABBAD27738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153ADDD5-EF0A-3670-8B4F-A75CE45928B8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64C5C4B4-5325-948F-A640-D58B8569913D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C57DB417-7166-A391-8835-4DB0C7455555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7013F917-4612-1A73-96DC-10206F385DB6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8251AB0A-74F5-970E-17E0-73B6C1430227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13F7CF4D-F064-68D6-77D1-0F3458E523F2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8D4408C5-B79C-DE7B-03F3-7D0D1BE24384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C292FE04-779C-137B-0ABC-69654CC12491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73E59DF0-3AF7-CD32-93C0-68C76E54569F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68FB639C-0EFD-516D-6FBF-DA9902594F84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E6B6A2A1-849A-3C4B-30B1-1FEEF0CCA2C3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A9620C0C-6E6C-6B7B-473B-D0C9C1808020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68829C76-F71C-A862-88F8-0DACD0A61381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4BDF1727-2CC4-9786-4A38-DA606EFFDF66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A118BE63-4E26-9B93-3873-DFBCC4F5F847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utter space">
              <a:extLst>
                <a:ext uri="{FF2B5EF4-FFF2-40B4-BE49-F238E27FC236}">
                  <a16:creationId xmlns:a16="http://schemas.microsoft.com/office/drawing/2014/main" id="{EBA30377-D087-9CB3-44F5-51D5C24FABCC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3" name="Rectangle 34">
                <a:extLst>
                  <a:ext uri="{FF2B5EF4-FFF2-40B4-BE49-F238E27FC236}">
                    <a16:creationId xmlns:a16="http://schemas.microsoft.com/office/drawing/2014/main" id="{CC4C7D51-E1A5-2BF5-BDC5-B6527D8ED1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5">
                <a:extLst>
                  <a:ext uri="{FF2B5EF4-FFF2-40B4-BE49-F238E27FC236}">
                    <a16:creationId xmlns:a16="http://schemas.microsoft.com/office/drawing/2014/main" id="{5108AA76-B0EA-F26E-B096-0B9DB04C8F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6">
                <a:extLst>
                  <a:ext uri="{FF2B5EF4-FFF2-40B4-BE49-F238E27FC236}">
                    <a16:creationId xmlns:a16="http://schemas.microsoft.com/office/drawing/2014/main" id="{FB0A0DD1-75B8-9983-9096-0CFFBCCADB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7">
                <a:extLst>
                  <a:ext uri="{FF2B5EF4-FFF2-40B4-BE49-F238E27FC236}">
                    <a16:creationId xmlns:a16="http://schemas.microsoft.com/office/drawing/2014/main" id="{21C3183E-40E8-7872-313E-E6F7886EE8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8">
                <a:extLst>
                  <a:ext uri="{FF2B5EF4-FFF2-40B4-BE49-F238E27FC236}">
                    <a16:creationId xmlns:a16="http://schemas.microsoft.com/office/drawing/2014/main" id="{ABB57BC0-B84B-0DA8-9822-13C95FB65A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39">
                <a:extLst>
                  <a:ext uri="{FF2B5EF4-FFF2-40B4-BE49-F238E27FC236}">
                    <a16:creationId xmlns:a16="http://schemas.microsoft.com/office/drawing/2014/main" id="{76EB24B4-3B07-EB6B-3543-FD61FEA83C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0">
                <a:extLst>
                  <a:ext uri="{FF2B5EF4-FFF2-40B4-BE49-F238E27FC236}">
                    <a16:creationId xmlns:a16="http://schemas.microsoft.com/office/drawing/2014/main" id="{0FD7B692-ACA9-E651-C4BE-D921FCECC9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1">
                <a:extLst>
                  <a:ext uri="{FF2B5EF4-FFF2-40B4-BE49-F238E27FC236}">
                    <a16:creationId xmlns:a16="http://schemas.microsoft.com/office/drawing/2014/main" id="{4B961EF8-61DC-6C19-E6B5-B8B9949AC3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2">
                <a:extLst>
                  <a:ext uri="{FF2B5EF4-FFF2-40B4-BE49-F238E27FC236}">
                    <a16:creationId xmlns:a16="http://schemas.microsoft.com/office/drawing/2014/main" id="{2F9C19C3-604F-AEE8-F043-C15E9DDB17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3">
                <a:extLst>
                  <a:ext uri="{FF2B5EF4-FFF2-40B4-BE49-F238E27FC236}">
                    <a16:creationId xmlns:a16="http://schemas.microsoft.com/office/drawing/2014/main" id="{969C3D71-431A-C175-648B-9D37DFBA69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44">
                <a:extLst>
                  <a:ext uri="{FF2B5EF4-FFF2-40B4-BE49-F238E27FC236}">
                    <a16:creationId xmlns:a16="http://schemas.microsoft.com/office/drawing/2014/main" id="{9609A4A6-92D9-C621-8D72-1258989505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9" name="Slide edges">
              <a:extLst>
                <a:ext uri="{FF2B5EF4-FFF2-40B4-BE49-F238E27FC236}">
                  <a16:creationId xmlns:a16="http://schemas.microsoft.com/office/drawing/2014/main" id="{00486D17-C86E-332A-993E-2DB4BBF8C4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3" name="Footnote measure">
              <a:extLst>
                <a:ext uri="{FF2B5EF4-FFF2-40B4-BE49-F238E27FC236}">
                  <a16:creationId xmlns:a16="http://schemas.microsoft.com/office/drawing/2014/main" id="{3ABC028D-13AB-6C92-DADB-3CE14D7EF7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Whitespace measure">
              <a:extLst>
                <a:ext uri="{FF2B5EF4-FFF2-40B4-BE49-F238E27FC236}">
                  <a16:creationId xmlns:a16="http://schemas.microsoft.com/office/drawing/2014/main" id="{AE85821E-1A79-A83E-9000-7E4273BFB0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5" name="Five column measure">
              <a:extLst>
                <a:ext uri="{FF2B5EF4-FFF2-40B4-BE49-F238E27FC236}">
                  <a16:creationId xmlns:a16="http://schemas.microsoft.com/office/drawing/2014/main" id="{C902ED2D-C38F-040D-A7C6-51A2AD129E29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8" name="Rectangle 5">
                <a:extLst>
                  <a:ext uri="{FF2B5EF4-FFF2-40B4-BE49-F238E27FC236}">
                    <a16:creationId xmlns:a16="http://schemas.microsoft.com/office/drawing/2014/main" id="{B1D7C687-7EE2-4BE1-9192-02184ABCC3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7">
                <a:extLst>
                  <a:ext uri="{FF2B5EF4-FFF2-40B4-BE49-F238E27FC236}">
                    <a16:creationId xmlns:a16="http://schemas.microsoft.com/office/drawing/2014/main" id="{3EB4E6B9-C48F-7667-EC81-727EB1370D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9">
                <a:extLst>
                  <a:ext uri="{FF2B5EF4-FFF2-40B4-BE49-F238E27FC236}">
                    <a16:creationId xmlns:a16="http://schemas.microsoft.com/office/drawing/2014/main" id="{F4672977-22EB-39A5-2C59-90EE759BE4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1">
                <a:extLst>
                  <a:ext uri="{FF2B5EF4-FFF2-40B4-BE49-F238E27FC236}">
                    <a16:creationId xmlns:a16="http://schemas.microsoft.com/office/drawing/2014/main" id="{B3F68A5E-CECD-E6F4-C565-1DEF2397C4C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13">
                <a:extLst>
                  <a:ext uri="{FF2B5EF4-FFF2-40B4-BE49-F238E27FC236}">
                    <a16:creationId xmlns:a16="http://schemas.microsoft.com/office/drawing/2014/main" id="{2AC6C7E9-12B0-2B25-A180-4F67D2C062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6" name="Live area">
              <a:extLst>
                <a:ext uri="{FF2B5EF4-FFF2-40B4-BE49-F238E27FC236}">
                  <a16:creationId xmlns:a16="http://schemas.microsoft.com/office/drawing/2014/main" id="{B36FA5A0-281D-902F-955E-7D8AF7112BD4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7" name="Footnote example">
              <a:extLst>
                <a:ext uri="{FF2B5EF4-FFF2-40B4-BE49-F238E27FC236}">
                  <a16:creationId xmlns:a16="http://schemas.microsoft.com/office/drawing/2014/main" id="{72922A3F-AAC6-0CEF-8EF1-E83CFDAE1A07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97480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2998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091B0EB-6DEE-19FD-603E-C22F4D2171AC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536A9961-9B07-3FB3-3C49-8A951AB653A2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4FD9000E-1A33-5EEF-6421-EFCF7D1F72D6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A9A74934-E3AE-A415-062B-1E223ED09AF8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791F3DD3-4937-97F3-F232-15D01D58006E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14F8AC89-B9BE-07BA-9C6A-DD94A5015F22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1CA06374-6339-7899-36F8-17376B6EF742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83A8B089-4904-F8EF-3720-6C9DF9D794FD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1B13D597-8BEA-5576-ECC9-C397865B9903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53E80545-B7AD-07C3-8FD7-8BA7AC17E14D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883A5219-2A0A-59B4-AF83-3B015228EE05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BC790129-D7F7-1346-6472-27FBD7FAC835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79638586-6308-A66A-3BA2-0BD41A1C01BE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77E9E187-A97A-00EA-2B47-6A6BE259EABE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EADB20DC-F9A2-FB47-D8F2-5B7B7FCB3421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669A8E3B-7C57-99B2-4D4B-C2034C4A2609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CC113A99-34E0-B6E5-AACD-7488B82BF527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D2B3FD89-574B-0B52-1A6D-239AC884A4BE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4ED74B9E-E5C3-D637-7F8F-10E2684BF90B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90F8AA6E-4097-F13B-969E-23A6A665C807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7AB33B7D-E3FB-AC73-B557-D56E4963C3BD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9E1BD6E2-6014-EAD7-33AE-095F40F0BD9F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0BFF188B-1913-6D8B-AA26-947DFC320CE0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08D1CCE4-F96C-D9A9-6960-A5AB34D45E15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1" name="Rectangle 34">
                <a:extLst>
                  <a:ext uri="{FF2B5EF4-FFF2-40B4-BE49-F238E27FC236}">
                    <a16:creationId xmlns:a16="http://schemas.microsoft.com/office/drawing/2014/main" id="{A71109C0-2364-A883-150B-E82E878121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5">
                <a:extLst>
                  <a:ext uri="{FF2B5EF4-FFF2-40B4-BE49-F238E27FC236}">
                    <a16:creationId xmlns:a16="http://schemas.microsoft.com/office/drawing/2014/main" id="{CD0E091C-FDCC-9862-C5B9-BFF57356E4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6">
                <a:extLst>
                  <a:ext uri="{FF2B5EF4-FFF2-40B4-BE49-F238E27FC236}">
                    <a16:creationId xmlns:a16="http://schemas.microsoft.com/office/drawing/2014/main" id="{734EB1BF-23EC-27B7-AA52-0BD00DBEF7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7">
                <a:extLst>
                  <a:ext uri="{FF2B5EF4-FFF2-40B4-BE49-F238E27FC236}">
                    <a16:creationId xmlns:a16="http://schemas.microsoft.com/office/drawing/2014/main" id="{D086B59D-152F-7C1C-2987-C270431A81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8">
                <a:extLst>
                  <a:ext uri="{FF2B5EF4-FFF2-40B4-BE49-F238E27FC236}">
                    <a16:creationId xmlns:a16="http://schemas.microsoft.com/office/drawing/2014/main" id="{6D18D6F4-23BD-09C2-8FB0-6AC1C51B21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9">
                <a:extLst>
                  <a:ext uri="{FF2B5EF4-FFF2-40B4-BE49-F238E27FC236}">
                    <a16:creationId xmlns:a16="http://schemas.microsoft.com/office/drawing/2014/main" id="{01222564-06FC-1D09-B437-8BCD5E6B43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0">
                <a:extLst>
                  <a:ext uri="{FF2B5EF4-FFF2-40B4-BE49-F238E27FC236}">
                    <a16:creationId xmlns:a16="http://schemas.microsoft.com/office/drawing/2014/main" id="{EF7B7BFA-8BAC-BF21-ED85-0E8CD27C88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1">
                <a:extLst>
                  <a:ext uri="{FF2B5EF4-FFF2-40B4-BE49-F238E27FC236}">
                    <a16:creationId xmlns:a16="http://schemas.microsoft.com/office/drawing/2014/main" id="{5585BF08-FF36-0935-E4C8-E44CD46908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2">
                <a:extLst>
                  <a:ext uri="{FF2B5EF4-FFF2-40B4-BE49-F238E27FC236}">
                    <a16:creationId xmlns:a16="http://schemas.microsoft.com/office/drawing/2014/main" id="{9CF9CAF1-EF82-D9CF-9FC2-3F0284D42E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3">
                <a:extLst>
                  <a:ext uri="{FF2B5EF4-FFF2-40B4-BE49-F238E27FC236}">
                    <a16:creationId xmlns:a16="http://schemas.microsoft.com/office/drawing/2014/main" id="{197E8D28-3532-1D5E-0D74-3A8F977A24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4">
                <a:extLst>
                  <a:ext uri="{FF2B5EF4-FFF2-40B4-BE49-F238E27FC236}">
                    <a16:creationId xmlns:a16="http://schemas.microsoft.com/office/drawing/2014/main" id="{1923EAF7-01BD-82F5-FC18-59A5045F8C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8" name="Slide edges">
              <a:extLst>
                <a:ext uri="{FF2B5EF4-FFF2-40B4-BE49-F238E27FC236}">
                  <a16:creationId xmlns:a16="http://schemas.microsoft.com/office/drawing/2014/main" id="{BAF09786-5C5B-18E3-4291-A3635A087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:a16="http://schemas.microsoft.com/office/drawing/2014/main" id="{790CB7D6-A6AA-0255-1FFA-44FF5A9AD9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F83EAB18-8CD2-2EFC-68F6-65DAFC3621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6FA9A594-17D1-9075-E5D7-A2086A15EDC2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6" name="Rectangle 5">
                <a:extLst>
                  <a:ext uri="{FF2B5EF4-FFF2-40B4-BE49-F238E27FC236}">
                    <a16:creationId xmlns:a16="http://schemas.microsoft.com/office/drawing/2014/main" id="{29EAD616-8F3B-2DBC-E2B9-9355F6B656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7">
                <a:extLst>
                  <a:ext uri="{FF2B5EF4-FFF2-40B4-BE49-F238E27FC236}">
                    <a16:creationId xmlns:a16="http://schemas.microsoft.com/office/drawing/2014/main" id="{62672901-DE6B-F78B-839C-03F117BD07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9">
                <a:extLst>
                  <a:ext uri="{FF2B5EF4-FFF2-40B4-BE49-F238E27FC236}">
                    <a16:creationId xmlns:a16="http://schemas.microsoft.com/office/drawing/2014/main" id="{DA05B380-4B73-C9A9-E27C-E54640527E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1">
                <a:extLst>
                  <a:ext uri="{FF2B5EF4-FFF2-40B4-BE49-F238E27FC236}">
                    <a16:creationId xmlns:a16="http://schemas.microsoft.com/office/drawing/2014/main" id="{5A865B90-A202-6CB2-FE4A-365CE30E0A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3">
                <a:extLst>
                  <a:ext uri="{FF2B5EF4-FFF2-40B4-BE49-F238E27FC236}">
                    <a16:creationId xmlns:a16="http://schemas.microsoft.com/office/drawing/2014/main" id="{CA02634E-08CB-FAFC-0220-4039C91B37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4" name="Live area">
              <a:extLst>
                <a:ext uri="{FF2B5EF4-FFF2-40B4-BE49-F238E27FC236}">
                  <a16:creationId xmlns:a16="http://schemas.microsoft.com/office/drawing/2014/main" id="{477F1A1A-490A-A727-619F-0AE7AD091ADE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5" name="Footnote example">
              <a:extLst>
                <a:ext uri="{FF2B5EF4-FFF2-40B4-BE49-F238E27FC236}">
                  <a16:creationId xmlns:a16="http://schemas.microsoft.com/office/drawing/2014/main" id="{A299FE2D-4FCA-892D-DC0A-BAAC102BC675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13441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20F43F12-DFEC-9C5A-1556-E38585364F7D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0BC98F8A-BD47-F0C0-DAE7-8BD01B17C117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6B08E734-B4BF-0D7B-9E9E-516010FF96B3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0DC1C8E3-99D3-1037-F64E-7BBE4A549FDF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066B7DE7-1A89-31C5-B803-D03A1177BBA1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937074BD-F100-EF76-2B84-C19208A3C24E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8CBA9C88-EC53-6A0F-97BB-CCC14E406A02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DB5F8D43-4789-0F92-D949-A85934FD9786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55A21BA0-CFFA-DE22-D325-AE8FFB159ED7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896F5BAA-CAEE-4A65-18B8-18713E198B68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C9BB2C0D-0FAA-0B2C-62B8-2DFFA20431F2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6D8D481C-9694-FDE0-1509-7604D729D43A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D688E950-D59F-55BB-601A-92A8C94FB9A3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A8341491-8937-4005-1785-0807EED1EB5E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B923657F-A429-54C5-9240-EB8E3A5B4932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490483DD-192F-37D3-FE68-D020B5748490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C569A031-D391-3A5B-CE6A-EAE42E7E6AC9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2E1B4C51-F36B-A905-20B3-5A0FD3588C22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15CDC568-A027-CA10-624F-0C4C9CA6CA17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09FE476D-5FE7-2787-7393-CA7765DD223E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1188FA1A-42C9-1974-0BC0-14FFF6F6CDD9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C0D8F6EF-1115-62EB-A669-0CFFB5B3C11C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78A22EEC-CB56-C271-2ECD-023ADC7933FB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22746425-AA40-4A00-3BC7-AD39092C1577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1" name="Rectangle 34">
                <a:extLst>
                  <a:ext uri="{FF2B5EF4-FFF2-40B4-BE49-F238E27FC236}">
                    <a16:creationId xmlns:a16="http://schemas.microsoft.com/office/drawing/2014/main" id="{BE45665A-507D-823F-914E-ABEC4B8729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5">
                <a:extLst>
                  <a:ext uri="{FF2B5EF4-FFF2-40B4-BE49-F238E27FC236}">
                    <a16:creationId xmlns:a16="http://schemas.microsoft.com/office/drawing/2014/main" id="{D1BAF0D8-C37D-D2A1-EA90-27F2A0D886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6">
                <a:extLst>
                  <a:ext uri="{FF2B5EF4-FFF2-40B4-BE49-F238E27FC236}">
                    <a16:creationId xmlns:a16="http://schemas.microsoft.com/office/drawing/2014/main" id="{4D335342-785B-46D4-9FFF-EAD20785F0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7">
                <a:extLst>
                  <a:ext uri="{FF2B5EF4-FFF2-40B4-BE49-F238E27FC236}">
                    <a16:creationId xmlns:a16="http://schemas.microsoft.com/office/drawing/2014/main" id="{44B9824E-ED08-C2F2-0D63-D3202A4446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8">
                <a:extLst>
                  <a:ext uri="{FF2B5EF4-FFF2-40B4-BE49-F238E27FC236}">
                    <a16:creationId xmlns:a16="http://schemas.microsoft.com/office/drawing/2014/main" id="{F8B495B5-D790-F49F-8678-213441E401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9">
                <a:extLst>
                  <a:ext uri="{FF2B5EF4-FFF2-40B4-BE49-F238E27FC236}">
                    <a16:creationId xmlns:a16="http://schemas.microsoft.com/office/drawing/2014/main" id="{043011D9-3E62-2D0F-FC8D-576D06E281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0">
                <a:extLst>
                  <a:ext uri="{FF2B5EF4-FFF2-40B4-BE49-F238E27FC236}">
                    <a16:creationId xmlns:a16="http://schemas.microsoft.com/office/drawing/2014/main" id="{399E8CDF-6BA3-BE55-D790-09B124419F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1">
                <a:extLst>
                  <a:ext uri="{FF2B5EF4-FFF2-40B4-BE49-F238E27FC236}">
                    <a16:creationId xmlns:a16="http://schemas.microsoft.com/office/drawing/2014/main" id="{C8A25D60-A39A-3039-C815-1AA9C6E51A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2">
                <a:extLst>
                  <a:ext uri="{FF2B5EF4-FFF2-40B4-BE49-F238E27FC236}">
                    <a16:creationId xmlns:a16="http://schemas.microsoft.com/office/drawing/2014/main" id="{616BB841-8F12-DFC5-7A52-865766F0B5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3">
                <a:extLst>
                  <a:ext uri="{FF2B5EF4-FFF2-40B4-BE49-F238E27FC236}">
                    <a16:creationId xmlns:a16="http://schemas.microsoft.com/office/drawing/2014/main" id="{E20F13D6-0552-8660-2E37-0BC1790EFF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4">
                <a:extLst>
                  <a:ext uri="{FF2B5EF4-FFF2-40B4-BE49-F238E27FC236}">
                    <a16:creationId xmlns:a16="http://schemas.microsoft.com/office/drawing/2014/main" id="{1EE9170D-18FE-BEC2-825A-32F6635C40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8" name="Slide edges">
              <a:extLst>
                <a:ext uri="{FF2B5EF4-FFF2-40B4-BE49-F238E27FC236}">
                  <a16:creationId xmlns:a16="http://schemas.microsoft.com/office/drawing/2014/main" id="{832B26C0-F921-E0EB-6FED-85637E32C827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:a16="http://schemas.microsoft.com/office/drawing/2014/main" id="{DB0B3FD5-15FF-29DC-4FBE-8A70D7365F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A2E31E35-FDA6-9072-426F-91326BD91F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776F9419-AD1E-91B7-A103-1757D8D3D22D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6" name="Rectangle 5">
                <a:extLst>
                  <a:ext uri="{FF2B5EF4-FFF2-40B4-BE49-F238E27FC236}">
                    <a16:creationId xmlns:a16="http://schemas.microsoft.com/office/drawing/2014/main" id="{A443CE40-E456-C58D-B109-1EB2DD99F2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7">
                <a:extLst>
                  <a:ext uri="{FF2B5EF4-FFF2-40B4-BE49-F238E27FC236}">
                    <a16:creationId xmlns:a16="http://schemas.microsoft.com/office/drawing/2014/main" id="{B3E7C8DF-CD3E-711D-F6A9-A23AE653BA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9">
                <a:extLst>
                  <a:ext uri="{FF2B5EF4-FFF2-40B4-BE49-F238E27FC236}">
                    <a16:creationId xmlns:a16="http://schemas.microsoft.com/office/drawing/2014/main" id="{422C3256-B714-D478-B370-358C27368B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1">
                <a:extLst>
                  <a:ext uri="{FF2B5EF4-FFF2-40B4-BE49-F238E27FC236}">
                    <a16:creationId xmlns:a16="http://schemas.microsoft.com/office/drawing/2014/main" id="{E5403822-8A72-8DB2-DDCF-B4D9ED2E4A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3">
                <a:extLst>
                  <a:ext uri="{FF2B5EF4-FFF2-40B4-BE49-F238E27FC236}">
                    <a16:creationId xmlns:a16="http://schemas.microsoft.com/office/drawing/2014/main" id="{84295BB5-887C-06E8-D53C-50620CA838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4" name="Live area">
              <a:extLst>
                <a:ext uri="{FF2B5EF4-FFF2-40B4-BE49-F238E27FC236}">
                  <a16:creationId xmlns:a16="http://schemas.microsoft.com/office/drawing/2014/main" id="{E6ABBD79-8FBB-88EA-B316-19AA1BE8EACC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5" name="Footnote example">
              <a:extLst>
                <a:ext uri="{FF2B5EF4-FFF2-40B4-BE49-F238E27FC236}">
                  <a16:creationId xmlns:a16="http://schemas.microsoft.com/office/drawing/2014/main" id="{7819102E-4810-015B-16CA-DE35BD1783D0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65866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51B62AA-9314-2938-603C-E1F21B526A93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E7AEEE52-F621-FDD8-9FC6-5B113D1074F3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ECDA5781-BD89-4DC2-D119-7954F95DF473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87D4E1FC-BA86-92E4-BB62-753472DC51D4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94EF8D13-F458-EE94-5D0D-D34649D5BB7F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89AB69B0-382D-7895-085D-F49C100FAE17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8535C0E5-D8A4-5153-BD45-2ADCDB17297C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5A177901-8036-0189-9A54-DA74E27153E0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9BCEBDED-5D12-8AF2-13CC-0B1B9AA2D302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43EFACDA-63CD-0BC6-7328-C2FA9234B98B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DE1C0D78-F359-F117-38C1-6E990CFED344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C15A5931-5D2D-4D56-55E7-D63785D01381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B4FC2C92-37AD-E3A9-715E-DE013C7A200E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8ECCC7F7-8807-2C4F-EFBD-047BFC00DAA4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0AE054A7-06B5-6DA4-AA38-3E149DF90900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0E561F53-9FC2-F20D-5F2E-D07C3AE22A36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881E0AA3-004D-F5EF-6C57-D03C73A83187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CAF59A02-6FB3-F338-FABE-236A374A6778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66BC72EB-3CED-8F6A-0886-CF6B4D7A1538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47B02769-B418-ABD6-0A6F-31246147FC9B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66A27AAB-758F-09BC-0250-ABE58B151989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2C5D1B4F-BE75-97B4-F493-AC01F709A009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F9C2E052-ED15-A53D-E416-495F8F66B486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1CF4405F-E828-5F7D-F06E-ED2B77C210F7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2" name="Rectangle 34">
                <a:extLst>
                  <a:ext uri="{FF2B5EF4-FFF2-40B4-BE49-F238E27FC236}">
                    <a16:creationId xmlns:a16="http://schemas.microsoft.com/office/drawing/2014/main" id="{2E82207C-F8E9-7D33-765F-64BA10A343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5">
                <a:extLst>
                  <a:ext uri="{FF2B5EF4-FFF2-40B4-BE49-F238E27FC236}">
                    <a16:creationId xmlns:a16="http://schemas.microsoft.com/office/drawing/2014/main" id="{A448FF87-0209-D33D-B1E2-99AFBBB7FA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6">
                <a:extLst>
                  <a:ext uri="{FF2B5EF4-FFF2-40B4-BE49-F238E27FC236}">
                    <a16:creationId xmlns:a16="http://schemas.microsoft.com/office/drawing/2014/main" id="{A46A6125-C643-37F6-0A66-BA32A8BFDE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7">
                <a:extLst>
                  <a:ext uri="{FF2B5EF4-FFF2-40B4-BE49-F238E27FC236}">
                    <a16:creationId xmlns:a16="http://schemas.microsoft.com/office/drawing/2014/main" id="{9C4191B3-1232-EF06-99DF-D10EC2F0FDC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8">
                <a:extLst>
                  <a:ext uri="{FF2B5EF4-FFF2-40B4-BE49-F238E27FC236}">
                    <a16:creationId xmlns:a16="http://schemas.microsoft.com/office/drawing/2014/main" id="{A96683A7-52F0-C604-9F8A-D319836D28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9">
                <a:extLst>
                  <a:ext uri="{FF2B5EF4-FFF2-40B4-BE49-F238E27FC236}">
                    <a16:creationId xmlns:a16="http://schemas.microsoft.com/office/drawing/2014/main" id="{4C8F6151-2ACB-CEAC-5C63-23856C7BCB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0">
                <a:extLst>
                  <a:ext uri="{FF2B5EF4-FFF2-40B4-BE49-F238E27FC236}">
                    <a16:creationId xmlns:a16="http://schemas.microsoft.com/office/drawing/2014/main" id="{83AEDB11-3389-2CC4-0B3E-997ACF1A2F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1">
                <a:extLst>
                  <a:ext uri="{FF2B5EF4-FFF2-40B4-BE49-F238E27FC236}">
                    <a16:creationId xmlns:a16="http://schemas.microsoft.com/office/drawing/2014/main" id="{6AD652F4-1200-66CF-9691-3A528C9224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2">
                <a:extLst>
                  <a:ext uri="{FF2B5EF4-FFF2-40B4-BE49-F238E27FC236}">
                    <a16:creationId xmlns:a16="http://schemas.microsoft.com/office/drawing/2014/main" id="{9A59F679-8CDE-0A51-A63D-5CA3B1F095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3">
                <a:extLst>
                  <a:ext uri="{FF2B5EF4-FFF2-40B4-BE49-F238E27FC236}">
                    <a16:creationId xmlns:a16="http://schemas.microsoft.com/office/drawing/2014/main" id="{62041CC4-3F5D-C2EA-FF77-FD47B201DD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4">
                <a:extLst>
                  <a:ext uri="{FF2B5EF4-FFF2-40B4-BE49-F238E27FC236}">
                    <a16:creationId xmlns:a16="http://schemas.microsoft.com/office/drawing/2014/main" id="{2EF20085-FE98-14D0-AFD2-75B4A9EA13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E2BF2367-09C4-5432-D934-6CBEDF2FD64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" name="Footnote measure">
              <a:extLst>
                <a:ext uri="{FF2B5EF4-FFF2-40B4-BE49-F238E27FC236}">
                  <a16:creationId xmlns:a16="http://schemas.microsoft.com/office/drawing/2014/main" id="{73B62BB4-B7EE-4B9D-7A2B-C7E24AE2FD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Whitespace measure">
              <a:extLst>
                <a:ext uri="{FF2B5EF4-FFF2-40B4-BE49-F238E27FC236}">
                  <a16:creationId xmlns:a16="http://schemas.microsoft.com/office/drawing/2014/main" id="{C3BE22D0-7732-1A06-8306-0553F6CD54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Five column measure">
              <a:extLst>
                <a:ext uri="{FF2B5EF4-FFF2-40B4-BE49-F238E27FC236}">
                  <a16:creationId xmlns:a16="http://schemas.microsoft.com/office/drawing/2014/main" id="{0B9CD41E-788C-73F1-1B03-FB1653B26CEE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6" name="Rectangle 5">
                <a:extLst>
                  <a:ext uri="{FF2B5EF4-FFF2-40B4-BE49-F238E27FC236}">
                    <a16:creationId xmlns:a16="http://schemas.microsoft.com/office/drawing/2014/main" id="{2D30444B-0343-83BA-C0F5-D036D85CEF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7">
                <a:extLst>
                  <a:ext uri="{FF2B5EF4-FFF2-40B4-BE49-F238E27FC236}">
                    <a16:creationId xmlns:a16="http://schemas.microsoft.com/office/drawing/2014/main" id="{7408FBF4-5BD4-567F-1DF1-0A8D022365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9">
                <a:extLst>
                  <a:ext uri="{FF2B5EF4-FFF2-40B4-BE49-F238E27FC236}">
                    <a16:creationId xmlns:a16="http://schemas.microsoft.com/office/drawing/2014/main" id="{B8C29D4A-117C-3DDC-15A5-61B4D4B298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1">
                <a:extLst>
                  <a:ext uri="{FF2B5EF4-FFF2-40B4-BE49-F238E27FC236}">
                    <a16:creationId xmlns:a16="http://schemas.microsoft.com/office/drawing/2014/main" id="{2101B139-A863-29D8-0B02-F799B0F899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3">
                <a:extLst>
                  <a:ext uri="{FF2B5EF4-FFF2-40B4-BE49-F238E27FC236}">
                    <a16:creationId xmlns:a16="http://schemas.microsoft.com/office/drawing/2014/main" id="{1C936AD4-0A22-58B5-43D6-88CB4DCA9A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" name="Live area">
              <a:extLst>
                <a:ext uri="{FF2B5EF4-FFF2-40B4-BE49-F238E27FC236}">
                  <a16:creationId xmlns:a16="http://schemas.microsoft.com/office/drawing/2014/main" id="{BD023C59-FD1E-358B-9CE7-2295EF15CBEA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7F3B2AFD-74D2-1775-14E0-0CC4BA5404F2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31152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/>
              <a:t>Agenda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4CE201E-1B03-E79E-251D-C6BCD483D50C}"/>
              </a:ext>
            </a:extLst>
          </p:cNvPr>
          <p:cNvGrpSpPr/>
          <p:nvPr userDrawn="1">
            <p:custDataLst>
              <p:tags r:id="rId4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11D855E8-D3F8-573F-1AA7-AD074A66756C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08C36E2C-B968-93FC-4003-7DA8D561B061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B3B56E32-B1B6-E788-131C-F2DEF1C23EDA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3B8BC5A5-9916-DAEF-98BC-21C9939B4A0B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C9BFC3D1-98F8-BF8F-940F-4D0A20DB641A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74F96D85-A8F8-F644-CB28-44DA6D5DB42B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2208A546-469C-129A-A759-ACD9BC0E8A9F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0FE5F708-9B00-BEF0-1885-DAF5AB6CCC34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FFDD95F0-B3D3-42EC-C858-CF5029DF8562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0C681960-B026-DFD4-6B25-4CEAD81CD5D5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C4DCD626-D4F1-B269-220E-4D117D6F64A0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9F9F52E8-D89D-4634-9B29-30BC85748954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7BD48F30-E234-F428-C5F7-E2DA1D671FC9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EEDD8320-DCE5-CB8F-452C-154C673665FB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1EDF933F-8A7B-E031-DB98-17E21D72E5ED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B1511899-9C17-5BBE-B9AE-9CB53AC85035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F574D6BA-C06C-74CC-D55A-793BD9177539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39164DFA-EC70-9A2D-66FF-7B11B8EA5269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D87DF785-16F0-C5A6-5987-2E19F14A1431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AF77FC73-2DD1-D152-42C9-6473FDD18871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01A68B15-739B-2D03-E591-8EAAB17ABBBF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4DAF6F7D-3061-2F93-DBCA-2137D81BA238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95F190C4-D388-1053-986A-0E887C5584EA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2" name="Rectangle 34">
                <a:extLst>
                  <a:ext uri="{FF2B5EF4-FFF2-40B4-BE49-F238E27FC236}">
                    <a16:creationId xmlns:a16="http://schemas.microsoft.com/office/drawing/2014/main" id="{721807E4-56AC-FE5C-DF07-518427F2BD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5">
                <a:extLst>
                  <a:ext uri="{FF2B5EF4-FFF2-40B4-BE49-F238E27FC236}">
                    <a16:creationId xmlns:a16="http://schemas.microsoft.com/office/drawing/2014/main" id="{FABC1DE1-E224-915D-1893-025B9FC323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6">
                <a:extLst>
                  <a:ext uri="{FF2B5EF4-FFF2-40B4-BE49-F238E27FC236}">
                    <a16:creationId xmlns:a16="http://schemas.microsoft.com/office/drawing/2014/main" id="{0BDC2D52-2D37-B863-FB72-AED9D30D59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7">
                <a:extLst>
                  <a:ext uri="{FF2B5EF4-FFF2-40B4-BE49-F238E27FC236}">
                    <a16:creationId xmlns:a16="http://schemas.microsoft.com/office/drawing/2014/main" id="{139B8ED6-2622-2A1E-5494-79D0D78D84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8">
                <a:extLst>
                  <a:ext uri="{FF2B5EF4-FFF2-40B4-BE49-F238E27FC236}">
                    <a16:creationId xmlns:a16="http://schemas.microsoft.com/office/drawing/2014/main" id="{4B471F2A-22D9-64E4-A763-1DC70772A1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9">
                <a:extLst>
                  <a:ext uri="{FF2B5EF4-FFF2-40B4-BE49-F238E27FC236}">
                    <a16:creationId xmlns:a16="http://schemas.microsoft.com/office/drawing/2014/main" id="{8886680D-73F7-8BC0-7E3B-D7BAA10E0B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0">
                <a:extLst>
                  <a:ext uri="{FF2B5EF4-FFF2-40B4-BE49-F238E27FC236}">
                    <a16:creationId xmlns:a16="http://schemas.microsoft.com/office/drawing/2014/main" id="{4FF717B9-7763-1D4A-BCCC-7F41D7A541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1">
                <a:extLst>
                  <a:ext uri="{FF2B5EF4-FFF2-40B4-BE49-F238E27FC236}">
                    <a16:creationId xmlns:a16="http://schemas.microsoft.com/office/drawing/2014/main" id="{4F45B709-8CC6-1B99-65E2-9096B7E1E7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2">
                <a:extLst>
                  <a:ext uri="{FF2B5EF4-FFF2-40B4-BE49-F238E27FC236}">
                    <a16:creationId xmlns:a16="http://schemas.microsoft.com/office/drawing/2014/main" id="{CA9A3295-E6B4-68DC-9A4D-A77E906E57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3">
                <a:extLst>
                  <a:ext uri="{FF2B5EF4-FFF2-40B4-BE49-F238E27FC236}">
                    <a16:creationId xmlns:a16="http://schemas.microsoft.com/office/drawing/2014/main" id="{F59B7FAA-4EBB-1890-CE81-1F8E53C6C1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4">
                <a:extLst>
                  <a:ext uri="{FF2B5EF4-FFF2-40B4-BE49-F238E27FC236}">
                    <a16:creationId xmlns:a16="http://schemas.microsoft.com/office/drawing/2014/main" id="{B67858BB-9CEF-0CAE-840B-9C98C3E444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88FC1451-BBE5-1CCE-30B7-E051EA2A5F4A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2" name="Footnote measure">
              <a:extLst>
                <a:ext uri="{FF2B5EF4-FFF2-40B4-BE49-F238E27FC236}">
                  <a16:creationId xmlns:a16="http://schemas.microsoft.com/office/drawing/2014/main" id="{B3C9BD7A-95E7-731B-E300-F9159AF43C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Whitespace measure">
              <a:extLst>
                <a:ext uri="{FF2B5EF4-FFF2-40B4-BE49-F238E27FC236}">
                  <a16:creationId xmlns:a16="http://schemas.microsoft.com/office/drawing/2014/main" id="{DB629052-8294-D48C-C930-A98C490E11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4" name="Five column measure">
              <a:extLst>
                <a:ext uri="{FF2B5EF4-FFF2-40B4-BE49-F238E27FC236}">
                  <a16:creationId xmlns:a16="http://schemas.microsoft.com/office/drawing/2014/main" id="{7DCEFE76-D30C-23D2-E447-237C09D1AD91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7" name="Rectangle 5">
                <a:extLst>
                  <a:ext uri="{FF2B5EF4-FFF2-40B4-BE49-F238E27FC236}">
                    <a16:creationId xmlns:a16="http://schemas.microsoft.com/office/drawing/2014/main" id="{90A32A2A-7A58-5FCE-699E-57D8B65D09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7">
                <a:extLst>
                  <a:ext uri="{FF2B5EF4-FFF2-40B4-BE49-F238E27FC236}">
                    <a16:creationId xmlns:a16="http://schemas.microsoft.com/office/drawing/2014/main" id="{69F451B8-EDC9-C41F-34D1-D5CC86AC70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9">
                <a:extLst>
                  <a:ext uri="{FF2B5EF4-FFF2-40B4-BE49-F238E27FC236}">
                    <a16:creationId xmlns:a16="http://schemas.microsoft.com/office/drawing/2014/main" id="{721FFB4F-B4C7-55D6-3887-E976970CBA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1">
                <a:extLst>
                  <a:ext uri="{FF2B5EF4-FFF2-40B4-BE49-F238E27FC236}">
                    <a16:creationId xmlns:a16="http://schemas.microsoft.com/office/drawing/2014/main" id="{18258DFA-D23F-0394-E449-02A2B91873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3">
                <a:extLst>
                  <a:ext uri="{FF2B5EF4-FFF2-40B4-BE49-F238E27FC236}">
                    <a16:creationId xmlns:a16="http://schemas.microsoft.com/office/drawing/2014/main" id="{CB29FC76-8934-9445-2BAA-025A0EDDBD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5" name="Live area">
              <a:extLst>
                <a:ext uri="{FF2B5EF4-FFF2-40B4-BE49-F238E27FC236}">
                  <a16:creationId xmlns:a16="http://schemas.microsoft.com/office/drawing/2014/main" id="{06DD3C70-2A7F-5BD3-4D66-5938873B204F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6" name="Footnote example">
              <a:extLst>
                <a:ext uri="{FF2B5EF4-FFF2-40B4-BE49-F238E27FC236}">
                  <a16:creationId xmlns:a16="http://schemas.microsoft.com/office/drawing/2014/main" id="{4F3CD452-C44C-329F-F12E-46736B49F527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60721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34DBBA7-C39F-13D0-38E4-D97695F0CD67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C213AC83-ED0C-4EAA-DD0F-EBF7BB80F3AF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08987BC2-13EA-A1CF-D8A5-D72AFB27ACCB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73FB19B0-D28A-31E2-6651-F2C8C9D43CB5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0BA59DAA-388B-92F6-AC86-574C795C3387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EF2886ED-2C54-B236-28D5-8C4BB912FFF8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0BD830D0-08C9-CAAB-8C78-DA5A2BFCAF60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02FB845E-C39A-10DC-A3EA-E08323DDAE04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D80DF62C-DBF5-E097-1589-32D9CE567259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4D837FF9-B675-01C2-8D7C-48363CCCBFA8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E3FEEEB4-3F6D-781C-508A-9E5E9224728C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86F2975E-418F-C34F-8CB9-9C4F58C3E687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1DE9F760-E151-75C3-2ED9-A2DAD78773B6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B1707CC3-97BE-8579-939C-33363BFF86DB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BA79188A-DA61-6F27-C8FE-6FD824D61124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2B1C45A1-2B01-36F5-D0FD-5836476473ED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5FDAAEA6-BEE1-C418-B048-790A44138A3E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DD8971FA-94AD-E17A-E557-964A75E2BA08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6690B0AD-3C12-E76D-8EE8-A0F0603BD19A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6D0EB38C-6B6F-AEFC-D759-451B6449A029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3EF9770C-5CE3-0CD0-1E29-18638745F13E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CD94C3F8-B26A-689A-5531-D0172CCCB016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D60E9CC1-2B91-35CD-1076-1D3B7BAA9137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F8D53871-D733-EFD2-4449-073093C2998A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0" name="Rectangle 34">
                <a:extLst>
                  <a:ext uri="{FF2B5EF4-FFF2-40B4-BE49-F238E27FC236}">
                    <a16:creationId xmlns:a16="http://schemas.microsoft.com/office/drawing/2014/main" id="{3D0F5FC5-2BCB-9F6F-5622-2324D75498C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35">
                <a:extLst>
                  <a:ext uri="{FF2B5EF4-FFF2-40B4-BE49-F238E27FC236}">
                    <a16:creationId xmlns:a16="http://schemas.microsoft.com/office/drawing/2014/main" id="{BEAD9424-95C3-1D57-EC9E-DB1423B49D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6">
                <a:extLst>
                  <a:ext uri="{FF2B5EF4-FFF2-40B4-BE49-F238E27FC236}">
                    <a16:creationId xmlns:a16="http://schemas.microsoft.com/office/drawing/2014/main" id="{50B9E76B-725D-79D5-9D47-3638E68264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7">
                <a:extLst>
                  <a:ext uri="{FF2B5EF4-FFF2-40B4-BE49-F238E27FC236}">
                    <a16:creationId xmlns:a16="http://schemas.microsoft.com/office/drawing/2014/main" id="{43307123-B6FB-52F6-D7C4-EB8541EB8D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8">
                <a:extLst>
                  <a:ext uri="{FF2B5EF4-FFF2-40B4-BE49-F238E27FC236}">
                    <a16:creationId xmlns:a16="http://schemas.microsoft.com/office/drawing/2014/main" id="{42D80C91-3E8D-4163-C2C5-9BA610FF93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9">
                <a:extLst>
                  <a:ext uri="{FF2B5EF4-FFF2-40B4-BE49-F238E27FC236}">
                    <a16:creationId xmlns:a16="http://schemas.microsoft.com/office/drawing/2014/main" id="{D202063C-5122-449A-4576-C11F39EF66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40">
                <a:extLst>
                  <a:ext uri="{FF2B5EF4-FFF2-40B4-BE49-F238E27FC236}">
                    <a16:creationId xmlns:a16="http://schemas.microsoft.com/office/drawing/2014/main" id="{488C9000-0867-715D-7B15-A1BA797681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1">
                <a:extLst>
                  <a:ext uri="{FF2B5EF4-FFF2-40B4-BE49-F238E27FC236}">
                    <a16:creationId xmlns:a16="http://schemas.microsoft.com/office/drawing/2014/main" id="{8CF6F082-D247-B72E-5DBD-51F2A2B8B6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2">
                <a:extLst>
                  <a:ext uri="{FF2B5EF4-FFF2-40B4-BE49-F238E27FC236}">
                    <a16:creationId xmlns:a16="http://schemas.microsoft.com/office/drawing/2014/main" id="{FAA263F4-50ED-3CFF-6193-8F7A4F13F2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3">
                <a:extLst>
                  <a:ext uri="{FF2B5EF4-FFF2-40B4-BE49-F238E27FC236}">
                    <a16:creationId xmlns:a16="http://schemas.microsoft.com/office/drawing/2014/main" id="{69476348-423C-1077-E131-E496EB0E17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4">
                <a:extLst>
                  <a:ext uri="{FF2B5EF4-FFF2-40B4-BE49-F238E27FC236}">
                    <a16:creationId xmlns:a16="http://schemas.microsoft.com/office/drawing/2014/main" id="{DC03A0AC-CCE5-CCCA-A2BE-DC7D4AD12D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BAF42A02-01C5-E5F0-D0D8-E63E93A8C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:a16="http://schemas.microsoft.com/office/drawing/2014/main" id="{A017759C-547F-968B-ED37-703D9CD9EE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7216C1C5-6C4C-4A23-9B4B-60F28D3BD5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5057CC00-534D-F953-9A73-F3E17CABEF84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" name="Rectangle 5">
                <a:extLst>
                  <a:ext uri="{FF2B5EF4-FFF2-40B4-BE49-F238E27FC236}">
                    <a16:creationId xmlns:a16="http://schemas.microsoft.com/office/drawing/2014/main" id="{9DAB0908-B938-49B3-87E1-EFC2358EB0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7">
                <a:extLst>
                  <a:ext uri="{FF2B5EF4-FFF2-40B4-BE49-F238E27FC236}">
                    <a16:creationId xmlns:a16="http://schemas.microsoft.com/office/drawing/2014/main" id="{5423C01B-FC67-E153-F556-9CD181B9AC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9">
                <a:extLst>
                  <a:ext uri="{FF2B5EF4-FFF2-40B4-BE49-F238E27FC236}">
                    <a16:creationId xmlns:a16="http://schemas.microsoft.com/office/drawing/2014/main" id="{2B53B36F-F806-795C-1DDE-74CC2C7610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11">
                <a:extLst>
                  <a:ext uri="{FF2B5EF4-FFF2-40B4-BE49-F238E27FC236}">
                    <a16:creationId xmlns:a16="http://schemas.microsoft.com/office/drawing/2014/main" id="{68401290-DA41-304C-EC35-AA73926403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3">
                <a:extLst>
                  <a:ext uri="{FF2B5EF4-FFF2-40B4-BE49-F238E27FC236}">
                    <a16:creationId xmlns:a16="http://schemas.microsoft.com/office/drawing/2014/main" id="{FC829669-891F-4035-88CB-B25196B93A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3" name="Live area">
              <a:extLst>
                <a:ext uri="{FF2B5EF4-FFF2-40B4-BE49-F238E27FC236}">
                  <a16:creationId xmlns:a16="http://schemas.microsoft.com/office/drawing/2014/main" id="{9093AF91-0C83-366F-450C-2FD71BD26749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169DE21D-7D93-2C30-0CD2-CB6E29D63255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07117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0440978A-C341-E3DF-B40B-E3905BB64803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A49E6020-F6DD-2295-4D7C-365575F18973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D8899ED3-6413-18AC-DB98-4240B095E1A6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566E7601-8C4D-4968-73A8-5F80BBDE99EB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917860D2-957C-3555-15B2-74ED6BE0FF47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67CE3D1E-39F3-B77E-7A66-93192A1950DF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1396B689-0CA2-CF48-FA01-38FA3BFC6CDA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44F0279B-54CF-067A-BAC3-87CD974F10C3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E83EE112-8CDE-CC12-D97B-13E63109D8E6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3889ECE5-58C8-015F-8A66-115CE8AC3534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CB359765-4411-451F-2691-E0036AFD4E23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1C1A8DCB-EF74-5F31-1702-F7077ABEC1B6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5FB19E68-F3BA-271B-2DCA-FB391CA5BC22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115B405C-67D8-682F-0D0C-A7E8F600C608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BC3F8E22-F17A-6F7E-BFF3-DA3F9925CD5C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14610682-0D38-6530-BD8D-5F448B34A129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C3981D95-29F9-B098-9E6D-1DDDC872544A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7F0B5A2F-3A9B-9C40-0252-D0EA79291040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00905A51-7251-1EFD-6BCF-2CB62FC875F1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7CCAAA8B-58EA-E019-44C4-3A1D438E950C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7166346A-081B-038D-8A81-959BCFBF00CC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31574296-DEAD-4A12-F077-4CC96ED4DACD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127C311F-5E53-11BF-729D-261830D21CB3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92D32C00-FC30-54AB-69E8-752C19C33E6D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0" name="Rectangle 34">
                <a:extLst>
                  <a:ext uri="{FF2B5EF4-FFF2-40B4-BE49-F238E27FC236}">
                    <a16:creationId xmlns:a16="http://schemas.microsoft.com/office/drawing/2014/main" id="{87648C9D-91D8-851C-9828-1DB261D87C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35">
                <a:extLst>
                  <a:ext uri="{FF2B5EF4-FFF2-40B4-BE49-F238E27FC236}">
                    <a16:creationId xmlns:a16="http://schemas.microsoft.com/office/drawing/2014/main" id="{6F15E118-7E59-7A7C-1D01-58EB19C75A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6">
                <a:extLst>
                  <a:ext uri="{FF2B5EF4-FFF2-40B4-BE49-F238E27FC236}">
                    <a16:creationId xmlns:a16="http://schemas.microsoft.com/office/drawing/2014/main" id="{AC9FB48F-BD9F-A2DB-766D-AB3BB9C0E6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7">
                <a:extLst>
                  <a:ext uri="{FF2B5EF4-FFF2-40B4-BE49-F238E27FC236}">
                    <a16:creationId xmlns:a16="http://schemas.microsoft.com/office/drawing/2014/main" id="{19BFD60B-90EF-0FC8-EF95-837AD3DEBD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8">
                <a:extLst>
                  <a:ext uri="{FF2B5EF4-FFF2-40B4-BE49-F238E27FC236}">
                    <a16:creationId xmlns:a16="http://schemas.microsoft.com/office/drawing/2014/main" id="{DE23F4BA-D1B8-D413-2FED-920D4063B2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9">
                <a:extLst>
                  <a:ext uri="{FF2B5EF4-FFF2-40B4-BE49-F238E27FC236}">
                    <a16:creationId xmlns:a16="http://schemas.microsoft.com/office/drawing/2014/main" id="{B846651D-E9AD-30AF-D209-34A7FC03AD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40">
                <a:extLst>
                  <a:ext uri="{FF2B5EF4-FFF2-40B4-BE49-F238E27FC236}">
                    <a16:creationId xmlns:a16="http://schemas.microsoft.com/office/drawing/2014/main" id="{AD26538D-464C-AA3A-E3C7-D2E40FC493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1">
                <a:extLst>
                  <a:ext uri="{FF2B5EF4-FFF2-40B4-BE49-F238E27FC236}">
                    <a16:creationId xmlns:a16="http://schemas.microsoft.com/office/drawing/2014/main" id="{4CFAEAD6-AA40-4AA4-42E5-953C8C5C5F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2">
                <a:extLst>
                  <a:ext uri="{FF2B5EF4-FFF2-40B4-BE49-F238E27FC236}">
                    <a16:creationId xmlns:a16="http://schemas.microsoft.com/office/drawing/2014/main" id="{2C769423-5781-B951-5E63-0903334557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3">
                <a:extLst>
                  <a:ext uri="{FF2B5EF4-FFF2-40B4-BE49-F238E27FC236}">
                    <a16:creationId xmlns:a16="http://schemas.microsoft.com/office/drawing/2014/main" id="{7D181B57-53FB-415D-F008-C15980FF0C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4">
                <a:extLst>
                  <a:ext uri="{FF2B5EF4-FFF2-40B4-BE49-F238E27FC236}">
                    <a16:creationId xmlns:a16="http://schemas.microsoft.com/office/drawing/2014/main" id="{D77F19DF-982D-669C-780D-2581C65663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8" name="Slide edges">
              <a:extLst>
                <a:ext uri="{FF2B5EF4-FFF2-40B4-BE49-F238E27FC236}">
                  <a16:creationId xmlns:a16="http://schemas.microsoft.com/office/drawing/2014/main" id="{30791FCC-BB87-B382-7B77-6CB367F64C96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0" name="Footnote measure">
              <a:extLst>
                <a:ext uri="{FF2B5EF4-FFF2-40B4-BE49-F238E27FC236}">
                  <a16:creationId xmlns:a16="http://schemas.microsoft.com/office/drawing/2014/main" id="{8F830B29-57FA-DA46-D8E1-11460A3B36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FB845089-2611-3A7C-BF3C-1DA56C8FEB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DE9DD8AD-715C-6E86-046E-3EA189B9256D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" name="Rectangle 5">
                <a:extLst>
                  <a:ext uri="{FF2B5EF4-FFF2-40B4-BE49-F238E27FC236}">
                    <a16:creationId xmlns:a16="http://schemas.microsoft.com/office/drawing/2014/main" id="{C8EAAAEB-BD83-C8A2-07D0-693BBDB457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7">
                <a:extLst>
                  <a:ext uri="{FF2B5EF4-FFF2-40B4-BE49-F238E27FC236}">
                    <a16:creationId xmlns:a16="http://schemas.microsoft.com/office/drawing/2014/main" id="{413977B0-AB0E-B716-0407-B4D5A4E816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9">
                <a:extLst>
                  <a:ext uri="{FF2B5EF4-FFF2-40B4-BE49-F238E27FC236}">
                    <a16:creationId xmlns:a16="http://schemas.microsoft.com/office/drawing/2014/main" id="{D42BB19C-C8AA-7553-1A40-2A12A8EC30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11">
                <a:extLst>
                  <a:ext uri="{FF2B5EF4-FFF2-40B4-BE49-F238E27FC236}">
                    <a16:creationId xmlns:a16="http://schemas.microsoft.com/office/drawing/2014/main" id="{5FCF23CA-CDAA-899B-ED15-E7D98373C6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3">
                <a:extLst>
                  <a:ext uri="{FF2B5EF4-FFF2-40B4-BE49-F238E27FC236}">
                    <a16:creationId xmlns:a16="http://schemas.microsoft.com/office/drawing/2014/main" id="{592E9777-6E87-21D5-6224-6F7C9A33FC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3" name="Live area">
              <a:extLst>
                <a:ext uri="{FF2B5EF4-FFF2-40B4-BE49-F238E27FC236}">
                  <a16:creationId xmlns:a16="http://schemas.microsoft.com/office/drawing/2014/main" id="{D9A9DFB7-6E58-37B1-DBDC-7C74E1512A6A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16F472CF-7726-428D-AB36-33AE9B16FB52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46220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1395C89-6237-4DE8-BEE9-AA5A3E72AB8D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6D2A1AB2-E2E3-8A97-F5AE-425461E59D95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874D5EB9-620B-FD48-02A6-C6AF46F211FB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ED92280F-FEC8-4EEB-42CE-A6351398AF55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8EBACF5B-76BC-8C9D-E3D0-AB718CC8A1BC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CE064814-AB6D-C34D-F1E9-08441828AAFA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2D23DDEE-D846-75CB-70F6-06FAA1372145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2AEFDF22-931B-C4D2-579D-DED2DF11A5FD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0A9E10D7-E5B0-6EE9-2063-FF9167DE2766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13D69B0A-A2AE-EC29-F52C-4DEF5D7D117F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CD9FC70A-E60F-59F3-E021-5203DEEE1CB5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E971CDE9-0A8F-F8CB-A686-D562D084DC02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C913EBBC-9BD9-CDA6-DC36-9B5120F309E7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CAD976B1-1746-8639-55FA-3B2E12445E5C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AC209212-65FD-470F-9DC0-F286D3486E49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1994520F-1117-D3C3-B560-F8AB7570399C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8EDEFD7D-D85D-981C-8FE5-53C9E6C6F070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D631832C-C242-8CCA-251A-1100B033577D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E0FD1C67-796F-F0FB-A471-76177E0888F1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078DCA90-7E0E-8302-81D8-082924B5F574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A14948F9-725D-D468-5249-BF6269024C33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0AE61D5D-EDD8-E60B-2C1C-8B46202508B6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319184FB-5399-FDE9-2D3F-9C5A57C904B2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6F9C04FC-D726-52C1-B2A0-0D12DE2244DC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9" name="Rectangle 34">
                <a:extLst>
                  <a:ext uri="{FF2B5EF4-FFF2-40B4-BE49-F238E27FC236}">
                    <a16:creationId xmlns:a16="http://schemas.microsoft.com/office/drawing/2014/main" id="{C9CBBA40-5289-4F6B-8BAD-EB4A94FEC2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35">
                <a:extLst>
                  <a:ext uri="{FF2B5EF4-FFF2-40B4-BE49-F238E27FC236}">
                    <a16:creationId xmlns:a16="http://schemas.microsoft.com/office/drawing/2014/main" id="{D1DDC0C1-8298-5C85-C0C6-6949F80A49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36">
                <a:extLst>
                  <a:ext uri="{FF2B5EF4-FFF2-40B4-BE49-F238E27FC236}">
                    <a16:creationId xmlns:a16="http://schemas.microsoft.com/office/drawing/2014/main" id="{56EA2B2B-74FB-84FC-041B-F2275170BB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7">
                <a:extLst>
                  <a:ext uri="{FF2B5EF4-FFF2-40B4-BE49-F238E27FC236}">
                    <a16:creationId xmlns:a16="http://schemas.microsoft.com/office/drawing/2014/main" id="{A54E414F-2C26-7052-854D-B0428112F7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8">
                <a:extLst>
                  <a:ext uri="{FF2B5EF4-FFF2-40B4-BE49-F238E27FC236}">
                    <a16:creationId xmlns:a16="http://schemas.microsoft.com/office/drawing/2014/main" id="{0408AB57-5A5E-1A5E-FB63-FC8927C78C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9">
                <a:extLst>
                  <a:ext uri="{FF2B5EF4-FFF2-40B4-BE49-F238E27FC236}">
                    <a16:creationId xmlns:a16="http://schemas.microsoft.com/office/drawing/2014/main" id="{1F276FFF-0CE6-B363-E9EE-BAE20721C7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0">
                <a:extLst>
                  <a:ext uri="{FF2B5EF4-FFF2-40B4-BE49-F238E27FC236}">
                    <a16:creationId xmlns:a16="http://schemas.microsoft.com/office/drawing/2014/main" id="{D8E329DB-C5DF-C60E-2120-3AF66EBFF6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1">
                <a:extLst>
                  <a:ext uri="{FF2B5EF4-FFF2-40B4-BE49-F238E27FC236}">
                    <a16:creationId xmlns:a16="http://schemas.microsoft.com/office/drawing/2014/main" id="{77B1C3C9-7483-F597-A413-8B965FCFA6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2">
                <a:extLst>
                  <a:ext uri="{FF2B5EF4-FFF2-40B4-BE49-F238E27FC236}">
                    <a16:creationId xmlns:a16="http://schemas.microsoft.com/office/drawing/2014/main" id="{48C9E2CF-14B5-A492-A322-CA1F594554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3">
                <a:extLst>
                  <a:ext uri="{FF2B5EF4-FFF2-40B4-BE49-F238E27FC236}">
                    <a16:creationId xmlns:a16="http://schemas.microsoft.com/office/drawing/2014/main" id="{34C05259-EEF3-FDE9-B126-91F04CA4DC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4">
                <a:extLst>
                  <a:ext uri="{FF2B5EF4-FFF2-40B4-BE49-F238E27FC236}">
                    <a16:creationId xmlns:a16="http://schemas.microsoft.com/office/drawing/2014/main" id="{76DE048C-4E84-68CE-195F-4985FF1F79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DAB1E63F-86C0-1680-91DE-3682B5000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" name="Footnote measure">
              <a:extLst>
                <a:ext uri="{FF2B5EF4-FFF2-40B4-BE49-F238E27FC236}">
                  <a16:creationId xmlns:a16="http://schemas.microsoft.com/office/drawing/2014/main" id="{74FE835F-683F-2496-5CF0-CEB4192435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Whitespace measure">
              <a:extLst>
                <a:ext uri="{FF2B5EF4-FFF2-40B4-BE49-F238E27FC236}">
                  <a16:creationId xmlns:a16="http://schemas.microsoft.com/office/drawing/2014/main" id="{962AC48C-1DBC-67D6-D4E6-7565DFC7C4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Five column measure">
              <a:extLst>
                <a:ext uri="{FF2B5EF4-FFF2-40B4-BE49-F238E27FC236}">
                  <a16:creationId xmlns:a16="http://schemas.microsoft.com/office/drawing/2014/main" id="{6C6A9D0F-EA59-1004-B1D9-851A09D35563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4" name="Rectangle 5">
                <a:extLst>
                  <a:ext uri="{FF2B5EF4-FFF2-40B4-BE49-F238E27FC236}">
                    <a16:creationId xmlns:a16="http://schemas.microsoft.com/office/drawing/2014/main" id="{95F5ABCA-1DF3-F204-C5B8-8960349FB2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Rectangle 7">
                <a:extLst>
                  <a:ext uri="{FF2B5EF4-FFF2-40B4-BE49-F238E27FC236}">
                    <a16:creationId xmlns:a16="http://schemas.microsoft.com/office/drawing/2014/main" id="{2A0032D0-146D-D967-CE65-D42A049B0C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9">
                <a:extLst>
                  <a:ext uri="{FF2B5EF4-FFF2-40B4-BE49-F238E27FC236}">
                    <a16:creationId xmlns:a16="http://schemas.microsoft.com/office/drawing/2014/main" id="{3F284A20-CA5B-037D-B81E-6EC58423DF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11">
                <a:extLst>
                  <a:ext uri="{FF2B5EF4-FFF2-40B4-BE49-F238E27FC236}">
                    <a16:creationId xmlns:a16="http://schemas.microsoft.com/office/drawing/2014/main" id="{EB9C3DF1-2863-E70B-8DE1-AE41221C86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13">
                <a:extLst>
                  <a:ext uri="{FF2B5EF4-FFF2-40B4-BE49-F238E27FC236}">
                    <a16:creationId xmlns:a16="http://schemas.microsoft.com/office/drawing/2014/main" id="{A864370D-ADCD-4453-CED1-A08D119CDE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" name="Live area">
              <a:extLst>
                <a:ext uri="{FF2B5EF4-FFF2-40B4-BE49-F238E27FC236}">
                  <a16:creationId xmlns:a16="http://schemas.microsoft.com/office/drawing/2014/main" id="{A944CABD-641D-6FF0-ABB4-19E48EA61D9F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3" name="Footnote example">
              <a:extLst>
                <a:ext uri="{FF2B5EF4-FFF2-40B4-BE49-F238E27FC236}">
                  <a16:creationId xmlns:a16="http://schemas.microsoft.com/office/drawing/2014/main" id="{B9018BE6-B8A0-C581-0856-13D4D4426A2B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7528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23076E56-E3BF-9293-DD49-7A85BA3BF1DE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6124A4E9-DCC7-4F77-1318-B23E4AA773C1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FE01AC29-ADE7-EEDE-EB99-D86BFA885DDE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31075980-4F6A-7003-016D-7ABD0AA268C5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5ABB4836-22E3-304F-5C24-92F98D1BCC4E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D39B6D01-74CD-1661-C511-CC7FD88123E3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35882984-AF31-EC51-52AB-D6DB11C354C4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D572DD13-E3A4-3CDF-D821-AF4ED1028D56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5A8263A9-350C-DAC6-4D24-5A0FAC3C1D9F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A04A5D03-FFD3-4F91-52B6-56D2116AD10D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B09A9504-780C-010C-34D4-124B0817320E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F0D629A0-C447-8001-9663-B33A15564306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EB98B1D4-F5B9-FE05-D17A-B7CA82C704E0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74E1D951-FC14-C38F-1BA3-82A2D4395926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55D51629-2080-AFEE-A202-A30D9ACD031F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EB708564-CFA2-95F9-B247-D004D9F8A86E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A151383B-BFF8-2956-8058-331F1AA9A533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E3386BBD-E26E-2488-B3A8-0BB4698DC1C9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4FD7B959-4B8C-5E6F-CDCE-4EA693FE8481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F5D089B9-3728-5F0F-5E1C-B510853106BD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0D4A0227-D7C6-0021-0D52-5ACC86B77DEC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AA6A194D-D388-880F-34B2-239F96ACEFDB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303505BC-D778-B173-B030-4CD234612F77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14C69EC7-891D-6B9C-BA8D-ADBD7535A531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3" name="Rectangle 34">
                <a:extLst>
                  <a:ext uri="{FF2B5EF4-FFF2-40B4-BE49-F238E27FC236}">
                    <a16:creationId xmlns:a16="http://schemas.microsoft.com/office/drawing/2014/main" id="{1B890424-1D44-EDF6-629F-E5561F6FC4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5">
                <a:extLst>
                  <a:ext uri="{FF2B5EF4-FFF2-40B4-BE49-F238E27FC236}">
                    <a16:creationId xmlns:a16="http://schemas.microsoft.com/office/drawing/2014/main" id="{2F0114CB-E075-2DDC-2A25-CAD6EFFCF0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6">
                <a:extLst>
                  <a:ext uri="{FF2B5EF4-FFF2-40B4-BE49-F238E27FC236}">
                    <a16:creationId xmlns:a16="http://schemas.microsoft.com/office/drawing/2014/main" id="{FB896C94-0626-16FA-ABBB-237C5BD644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7">
                <a:extLst>
                  <a:ext uri="{FF2B5EF4-FFF2-40B4-BE49-F238E27FC236}">
                    <a16:creationId xmlns:a16="http://schemas.microsoft.com/office/drawing/2014/main" id="{E228F7A5-7051-E948-D60A-3CF2A79AB6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8">
                <a:extLst>
                  <a:ext uri="{FF2B5EF4-FFF2-40B4-BE49-F238E27FC236}">
                    <a16:creationId xmlns:a16="http://schemas.microsoft.com/office/drawing/2014/main" id="{A1C291EA-116F-DBD8-6E5E-40AD3CBC9A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39">
                <a:extLst>
                  <a:ext uri="{FF2B5EF4-FFF2-40B4-BE49-F238E27FC236}">
                    <a16:creationId xmlns:a16="http://schemas.microsoft.com/office/drawing/2014/main" id="{1E216AE3-9D4E-EC7D-28DD-94E128BEF0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0">
                <a:extLst>
                  <a:ext uri="{FF2B5EF4-FFF2-40B4-BE49-F238E27FC236}">
                    <a16:creationId xmlns:a16="http://schemas.microsoft.com/office/drawing/2014/main" id="{3A27324F-9178-872A-7AAF-375623ACD6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1">
                <a:extLst>
                  <a:ext uri="{FF2B5EF4-FFF2-40B4-BE49-F238E27FC236}">
                    <a16:creationId xmlns:a16="http://schemas.microsoft.com/office/drawing/2014/main" id="{51C06A5D-C7C8-5E22-1810-09B05C4EF0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2">
                <a:extLst>
                  <a:ext uri="{FF2B5EF4-FFF2-40B4-BE49-F238E27FC236}">
                    <a16:creationId xmlns:a16="http://schemas.microsoft.com/office/drawing/2014/main" id="{D94143F8-AE45-B440-0227-D9A7DC2C61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3">
                <a:extLst>
                  <a:ext uri="{FF2B5EF4-FFF2-40B4-BE49-F238E27FC236}">
                    <a16:creationId xmlns:a16="http://schemas.microsoft.com/office/drawing/2014/main" id="{22C1A73C-C3FC-2222-DB28-40F0739728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44">
                <a:extLst>
                  <a:ext uri="{FF2B5EF4-FFF2-40B4-BE49-F238E27FC236}">
                    <a16:creationId xmlns:a16="http://schemas.microsoft.com/office/drawing/2014/main" id="{E7F66AF7-6701-166B-6FF7-481E66E05D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BEDF6CD3-6A39-AEEB-E69A-85042E677153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" name="Footnote measure">
              <a:extLst>
                <a:ext uri="{FF2B5EF4-FFF2-40B4-BE49-F238E27FC236}">
                  <a16:creationId xmlns:a16="http://schemas.microsoft.com/office/drawing/2014/main" id="{E8D2DF28-E6D4-0CFB-35F0-8E52749980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Whitespace measure">
              <a:extLst>
                <a:ext uri="{FF2B5EF4-FFF2-40B4-BE49-F238E27FC236}">
                  <a16:creationId xmlns:a16="http://schemas.microsoft.com/office/drawing/2014/main" id="{74A65713-D897-9CE3-C8CD-A7C184738F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Five column measure">
              <a:extLst>
                <a:ext uri="{FF2B5EF4-FFF2-40B4-BE49-F238E27FC236}">
                  <a16:creationId xmlns:a16="http://schemas.microsoft.com/office/drawing/2014/main" id="{120AE26A-84B8-CD39-6DE7-F4539A25A812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" name="Rectangle 5">
                <a:extLst>
                  <a:ext uri="{FF2B5EF4-FFF2-40B4-BE49-F238E27FC236}">
                    <a16:creationId xmlns:a16="http://schemas.microsoft.com/office/drawing/2014/main" id="{CE609836-C095-D8D5-70F7-76CEA5DB34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7">
                <a:extLst>
                  <a:ext uri="{FF2B5EF4-FFF2-40B4-BE49-F238E27FC236}">
                    <a16:creationId xmlns:a16="http://schemas.microsoft.com/office/drawing/2014/main" id="{EAA8B7E6-A491-79DB-A681-61CD93C946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9">
                <a:extLst>
                  <a:ext uri="{FF2B5EF4-FFF2-40B4-BE49-F238E27FC236}">
                    <a16:creationId xmlns:a16="http://schemas.microsoft.com/office/drawing/2014/main" id="{549D735A-9BB0-F4C3-C21A-C6D5D0C859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1">
                <a:extLst>
                  <a:ext uri="{FF2B5EF4-FFF2-40B4-BE49-F238E27FC236}">
                    <a16:creationId xmlns:a16="http://schemas.microsoft.com/office/drawing/2014/main" id="{C6F96A87-41E1-F831-23C8-378867E040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13">
                <a:extLst>
                  <a:ext uri="{FF2B5EF4-FFF2-40B4-BE49-F238E27FC236}">
                    <a16:creationId xmlns:a16="http://schemas.microsoft.com/office/drawing/2014/main" id="{1D003C81-3A25-6BD9-5885-A59E481737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" name="Live area">
              <a:extLst>
                <a:ext uri="{FF2B5EF4-FFF2-40B4-BE49-F238E27FC236}">
                  <a16:creationId xmlns:a16="http://schemas.microsoft.com/office/drawing/2014/main" id="{FF793318-1298-A458-4303-0E741FCB0B54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D16567EB-4D6B-6377-7DBA-87D2BD31C86D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04716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BD820A6-9C6B-2CFC-05E6-4C5179F169C7}"/>
              </a:ext>
            </a:extLst>
          </p:cNvPr>
          <p:cNvGrpSpPr/>
          <p:nvPr userDrawn="1">
            <p:custDataLst>
              <p:tags r:id="rId4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" name="No fly zone">
              <a:extLst>
                <a:ext uri="{FF2B5EF4-FFF2-40B4-BE49-F238E27FC236}">
                  <a16:creationId xmlns:a16="http://schemas.microsoft.com/office/drawing/2014/main" id="{F7649027-DFBD-5951-A501-24AE6B0BB1E4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6" name="Baselines / anchors">
              <a:extLst>
                <a:ext uri="{FF2B5EF4-FFF2-40B4-BE49-F238E27FC236}">
                  <a16:creationId xmlns:a16="http://schemas.microsoft.com/office/drawing/2014/main" id="{7819639F-34BB-0ED5-1A90-9214F051FFE1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F914F70B-4BBF-4478-F510-735A97E02A24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C0B624F5-E330-9999-E699-65E2C321BBB3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ABA07E6B-5EA8-3AA0-1FF8-13C5EDC72BB6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71A75A37-B185-854B-39E3-C9C951D70A31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5F964BBE-68D7-2704-24E9-6C37C8F07D0A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5B630B26-6E35-0DE1-1BB7-6E9D6BAB9BFB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931A0DC0-BBD6-4D1F-4A2A-3906BB91F0C6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0DC6B77D-2BF6-84A0-663B-1F1BCB33A00E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846F2E23-88DF-7013-81AD-CD242C2A39F1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B70DF2BC-2AC6-8133-B44D-55CC2B87A43A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06D088DE-9181-2FBD-A3EF-FC9173A062CE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E44CF5AB-97F9-B70F-2E1D-14F2464E9A0B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4E8E3D5D-46F6-4582-612A-E4B3F2BD5334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4E674070-273B-64EB-86A2-012E3CE6C54F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8D17EA3B-03C4-8DB4-E158-75AD8A9633BC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072F995A-4A3B-8FF2-7C10-4F13AE8FE635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A0CFEB1C-7EB6-10E0-5E2F-7B50062E0C85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BB2F8EAA-E4EC-4D99-48BD-98B7BE33EA0C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856C8AAF-61A1-C2A5-67C3-165D5662787B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9FC5A60F-92E0-2CA7-28D4-6F4617D04C21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utter space">
              <a:extLst>
                <a:ext uri="{FF2B5EF4-FFF2-40B4-BE49-F238E27FC236}">
                  <a16:creationId xmlns:a16="http://schemas.microsoft.com/office/drawing/2014/main" id="{AEBFDAFE-D7F7-EA84-0F11-5F82202801EA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3" name="Rectangle 34">
                <a:extLst>
                  <a:ext uri="{FF2B5EF4-FFF2-40B4-BE49-F238E27FC236}">
                    <a16:creationId xmlns:a16="http://schemas.microsoft.com/office/drawing/2014/main" id="{0C8C483B-34F7-91A4-8F16-A99D17D827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5">
                <a:extLst>
                  <a:ext uri="{FF2B5EF4-FFF2-40B4-BE49-F238E27FC236}">
                    <a16:creationId xmlns:a16="http://schemas.microsoft.com/office/drawing/2014/main" id="{F3395F98-E881-0F25-E64E-F4FBE50604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6">
                <a:extLst>
                  <a:ext uri="{FF2B5EF4-FFF2-40B4-BE49-F238E27FC236}">
                    <a16:creationId xmlns:a16="http://schemas.microsoft.com/office/drawing/2014/main" id="{615C0745-28F8-851F-DB98-0EE545EFB3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7">
                <a:extLst>
                  <a:ext uri="{FF2B5EF4-FFF2-40B4-BE49-F238E27FC236}">
                    <a16:creationId xmlns:a16="http://schemas.microsoft.com/office/drawing/2014/main" id="{D2BE9D4C-773D-70EF-6A5E-A71EEE38D6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8">
                <a:extLst>
                  <a:ext uri="{FF2B5EF4-FFF2-40B4-BE49-F238E27FC236}">
                    <a16:creationId xmlns:a16="http://schemas.microsoft.com/office/drawing/2014/main" id="{6BA30699-4FC5-A35F-56BF-2745DDD9FE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39">
                <a:extLst>
                  <a:ext uri="{FF2B5EF4-FFF2-40B4-BE49-F238E27FC236}">
                    <a16:creationId xmlns:a16="http://schemas.microsoft.com/office/drawing/2014/main" id="{9E96D79B-B174-9E4A-5EF8-61D3D25BAE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0">
                <a:extLst>
                  <a:ext uri="{FF2B5EF4-FFF2-40B4-BE49-F238E27FC236}">
                    <a16:creationId xmlns:a16="http://schemas.microsoft.com/office/drawing/2014/main" id="{9A734A14-368C-9A5C-C8AE-EFA5F847D9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1">
                <a:extLst>
                  <a:ext uri="{FF2B5EF4-FFF2-40B4-BE49-F238E27FC236}">
                    <a16:creationId xmlns:a16="http://schemas.microsoft.com/office/drawing/2014/main" id="{F010362F-D379-E1DE-6B6A-FD17C757B0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2">
                <a:extLst>
                  <a:ext uri="{FF2B5EF4-FFF2-40B4-BE49-F238E27FC236}">
                    <a16:creationId xmlns:a16="http://schemas.microsoft.com/office/drawing/2014/main" id="{66B2C69A-056C-29C2-391B-A80A90F68D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3">
                <a:extLst>
                  <a:ext uri="{FF2B5EF4-FFF2-40B4-BE49-F238E27FC236}">
                    <a16:creationId xmlns:a16="http://schemas.microsoft.com/office/drawing/2014/main" id="{ABB5DC0A-8E18-6A85-4B38-FD0DD46707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44">
                <a:extLst>
                  <a:ext uri="{FF2B5EF4-FFF2-40B4-BE49-F238E27FC236}">
                    <a16:creationId xmlns:a16="http://schemas.microsoft.com/office/drawing/2014/main" id="{8A9CD1A6-FFCB-657B-C568-C10395D53B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9" name="Slide edges">
              <a:extLst>
                <a:ext uri="{FF2B5EF4-FFF2-40B4-BE49-F238E27FC236}">
                  <a16:creationId xmlns:a16="http://schemas.microsoft.com/office/drawing/2014/main" id="{7EA2EE72-7054-9E1A-4938-EBDB0A50D28A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3" name="Footnote measure">
              <a:extLst>
                <a:ext uri="{FF2B5EF4-FFF2-40B4-BE49-F238E27FC236}">
                  <a16:creationId xmlns:a16="http://schemas.microsoft.com/office/drawing/2014/main" id="{B124BAA1-F9E4-217A-7B20-6F9D4B643B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Whitespace measure">
              <a:extLst>
                <a:ext uri="{FF2B5EF4-FFF2-40B4-BE49-F238E27FC236}">
                  <a16:creationId xmlns:a16="http://schemas.microsoft.com/office/drawing/2014/main" id="{6733D669-AD98-9ACA-6296-EA26076D7C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5" name="Five column measure">
              <a:extLst>
                <a:ext uri="{FF2B5EF4-FFF2-40B4-BE49-F238E27FC236}">
                  <a16:creationId xmlns:a16="http://schemas.microsoft.com/office/drawing/2014/main" id="{10F1992A-1FD3-517A-5093-95A2539D599F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8" name="Rectangle 5">
                <a:extLst>
                  <a:ext uri="{FF2B5EF4-FFF2-40B4-BE49-F238E27FC236}">
                    <a16:creationId xmlns:a16="http://schemas.microsoft.com/office/drawing/2014/main" id="{B1A1D067-4AA7-3834-169A-ABD468BE58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7">
                <a:extLst>
                  <a:ext uri="{FF2B5EF4-FFF2-40B4-BE49-F238E27FC236}">
                    <a16:creationId xmlns:a16="http://schemas.microsoft.com/office/drawing/2014/main" id="{1566104A-AEFB-8551-3D38-2CA7979538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9">
                <a:extLst>
                  <a:ext uri="{FF2B5EF4-FFF2-40B4-BE49-F238E27FC236}">
                    <a16:creationId xmlns:a16="http://schemas.microsoft.com/office/drawing/2014/main" id="{F68F91EE-B7BF-FBE7-77FB-3E9131F9D1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1">
                <a:extLst>
                  <a:ext uri="{FF2B5EF4-FFF2-40B4-BE49-F238E27FC236}">
                    <a16:creationId xmlns:a16="http://schemas.microsoft.com/office/drawing/2014/main" id="{2D546182-B208-5629-58A9-CC4F650263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13">
                <a:extLst>
                  <a:ext uri="{FF2B5EF4-FFF2-40B4-BE49-F238E27FC236}">
                    <a16:creationId xmlns:a16="http://schemas.microsoft.com/office/drawing/2014/main" id="{253626C8-8E4A-D026-1594-97644EBB89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6" name="Live area">
              <a:extLst>
                <a:ext uri="{FF2B5EF4-FFF2-40B4-BE49-F238E27FC236}">
                  <a16:creationId xmlns:a16="http://schemas.microsoft.com/office/drawing/2014/main" id="{9AAC9016-6EF9-0510-7B03-4CD3427B4C75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7" name="Footnote example">
              <a:extLst>
                <a:ext uri="{FF2B5EF4-FFF2-40B4-BE49-F238E27FC236}">
                  <a16:creationId xmlns:a16="http://schemas.microsoft.com/office/drawing/2014/main" id="{A12B6233-8990-1EF0-9C27-B40A70C5AAC8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09297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9FA3192-90CD-B1E9-1491-D79ED376CBD2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211F9685-8D88-C0D3-230A-EB856903AEE8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1FDE7E0C-F5C1-20DE-A853-4FA14CE0A172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12D8ED33-D7CA-17E4-5C3C-DE464A163921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97960EC1-EE42-0EBD-1C9F-6392FBAA9AAE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9C7C846F-0A8E-50C7-85C7-A7BAF908754D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3499BF1F-4BC1-D94A-274F-1F6F00392433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6C36169A-0195-32D6-52DA-769C9AF45CFC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0F7915E0-E481-43E6-126B-97D526C649B5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C210AEB3-6F56-7307-50B2-D6FCB1359144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B1C73CC1-D976-6AF0-A650-CEAA44B6E6DA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72184245-20F5-23C6-D5C8-46A114520421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0B64A3FC-9C1A-6F70-4B60-41BC443FD301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02F63932-FEFD-3D53-44A7-D71B551F341E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1603A4D7-7EB9-12DF-35E6-20998A79BAB8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C8100F46-7B69-E10B-5E4F-718B5193EE28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972B6797-0758-CFE1-0CC2-5B6EDAAA81BC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37A4A19A-19AB-763D-B59E-A002F9D588D5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93CD8C03-8E4F-0EF5-CF5D-03D0175CB0F0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554C1F57-D541-B412-9820-95636F647920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D8DBFEC3-8B46-E070-220C-0618CDA5EC81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9835A1ED-80C2-48B2-2F77-F74E2D349236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90A8910C-97E3-96C0-AC2B-A4605E9418E9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012690EB-4C8D-2FF4-4536-3DEE7FA28A44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1" name="Rectangle 34">
                <a:extLst>
                  <a:ext uri="{FF2B5EF4-FFF2-40B4-BE49-F238E27FC236}">
                    <a16:creationId xmlns:a16="http://schemas.microsoft.com/office/drawing/2014/main" id="{EA0E4E0A-E3B8-7E2B-2432-1EB3C96F2F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5">
                <a:extLst>
                  <a:ext uri="{FF2B5EF4-FFF2-40B4-BE49-F238E27FC236}">
                    <a16:creationId xmlns:a16="http://schemas.microsoft.com/office/drawing/2014/main" id="{53FEFB6C-221C-ED31-FD33-D84D6D2253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6">
                <a:extLst>
                  <a:ext uri="{FF2B5EF4-FFF2-40B4-BE49-F238E27FC236}">
                    <a16:creationId xmlns:a16="http://schemas.microsoft.com/office/drawing/2014/main" id="{659FE46F-0EDD-D65A-5522-8DE642F772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7">
                <a:extLst>
                  <a:ext uri="{FF2B5EF4-FFF2-40B4-BE49-F238E27FC236}">
                    <a16:creationId xmlns:a16="http://schemas.microsoft.com/office/drawing/2014/main" id="{ABBB937B-AC47-0891-FF06-EE875ED32D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8">
                <a:extLst>
                  <a:ext uri="{FF2B5EF4-FFF2-40B4-BE49-F238E27FC236}">
                    <a16:creationId xmlns:a16="http://schemas.microsoft.com/office/drawing/2014/main" id="{4ABD812D-29FA-B1CD-EE58-DF21DD86FA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9">
                <a:extLst>
                  <a:ext uri="{FF2B5EF4-FFF2-40B4-BE49-F238E27FC236}">
                    <a16:creationId xmlns:a16="http://schemas.microsoft.com/office/drawing/2014/main" id="{F1AD6390-B3B3-3E38-4DC3-313E296749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0">
                <a:extLst>
                  <a:ext uri="{FF2B5EF4-FFF2-40B4-BE49-F238E27FC236}">
                    <a16:creationId xmlns:a16="http://schemas.microsoft.com/office/drawing/2014/main" id="{F469B66D-B651-1CB9-3413-E9666FABC4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1">
                <a:extLst>
                  <a:ext uri="{FF2B5EF4-FFF2-40B4-BE49-F238E27FC236}">
                    <a16:creationId xmlns:a16="http://schemas.microsoft.com/office/drawing/2014/main" id="{027AFE79-2F1F-27EA-A8B1-BC3A639DA7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2">
                <a:extLst>
                  <a:ext uri="{FF2B5EF4-FFF2-40B4-BE49-F238E27FC236}">
                    <a16:creationId xmlns:a16="http://schemas.microsoft.com/office/drawing/2014/main" id="{CC0DAE4F-5575-A111-50AA-0F765789A5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3">
                <a:extLst>
                  <a:ext uri="{FF2B5EF4-FFF2-40B4-BE49-F238E27FC236}">
                    <a16:creationId xmlns:a16="http://schemas.microsoft.com/office/drawing/2014/main" id="{3388D263-6B8F-5AA0-17C9-8ABB14523E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4">
                <a:extLst>
                  <a:ext uri="{FF2B5EF4-FFF2-40B4-BE49-F238E27FC236}">
                    <a16:creationId xmlns:a16="http://schemas.microsoft.com/office/drawing/2014/main" id="{092923A0-638D-5AF9-243A-4B50E4B0C0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8" name="Slide edges">
              <a:extLst>
                <a:ext uri="{FF2B5EF4-FFF2-40B4-BE49-F238E27FC236}">
                  <a16:creationId xmlns:a16="http://schemas.microsoft.com/office/drawing/2014/main" id="{D3CF60A8-2B4C-2DB8-5130-73AAFFC0273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:a16="http://schemas.microsoft.com/office/drawing/2014/main" id="{FC444781-ABF1-3641-0B47-63E4E16146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E4D4D268-CF8A-B642-73DD-3A3777458B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C0B3B755-4179-72FE-91C2-478565B7A82B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6" name="Rectangle 5">
                <a:extLst>
                  <a:ext uri="{FF2B5EF4-FFF2-40B4-BE49-F238E27FC236}">
                    <a16:creationId xmlns:a16="http://schemas.microsoft.com/office/drawing/2014/main" id="{618DE969-39FF-D8B8-3BC6-ACB4A11682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7">
                <a:extLst>
                  <a:ext uri="{FF2B5EF4-FFF2-40B4-BE49-F238E27FC236}">
                    <a16:creationId xmlns:a16="http://schemas.microsoft.com/office/drawing/2014/main" id="{08966720-80B3-D4D2-0384-E1405B45B9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9">
                <a:extLst>
                  <a:ext uri="{FF2B5EF4-FFF2-40B4-BE49-F238E27FC236}">
                    <a16:creationId xmlns:a16="http://schemas.microsoft.com/office/drawing/2014/main" id="{E6D9B432-2861-5A61-C9EC-4028169B38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1">
                <a:extLst>
                  <a:ext uri="{FF2B5EF4-FFF2-40B4-BE49-F238E27FC236}">
                    <a16:creationId xmlns:a16="http://schemas.microsoft.com/office/drawing/2014/main" id="{EFCC78F6-7A7F-EAB9-0AC8-F6F02BE9B0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3">
                <a:extLst>
                  <a:ext uri="{FF2B5EF4-FFF2-40B4-BE49-F238E27FC236}">
                    <a16:creationId xmlns:a16="http://schemas.microsoft.com/office/drawing/2014/main" id="{706EF70E-2580-53E9-64F8-3735B776B5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4" name="Live area">
              <a:extLst>
                <a:ext uri="{FF2B5EF4-FFF2-40B4-BE49-F238E27FC236}">
                  <a16:creationId xmlns:a16="http://schemas.microsoft.com/office/drawing/2014/main" id="{0AB390E0-778F-353C-DC81-067F57FDB8AD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5" name="Footnote example">
              <a:extLst>
                <a:ext uri="{FF2B5EF4-FFF2-40B4-BE49-F238E27FC236}">
                  <a16:creationId xmlns:a16="http://schemas.microsoft.com/office/drawing/2014/main" id="{E967E3E8-B9CD-D374-DB6B-7B056F28FD17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82661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8838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F9868C0C-E1F5-ABD4-90A1-0D06C18EDC6A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FE58FB41-E720-396D-76F5-312E181F2000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D987AA4E-0123-ED61-CB94-CF64540F9215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78AB34FF-26D6-2FC1-562E-9645C73F0356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A7D8D174-B6A7-BC50-D790-DE254F3A51E2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F238366E-E0B9-FA26-73D0-55754B4B7D3D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8018F1E7-1655-B60A-0806-27B4906A371A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1CF5D5A0-77CE-4468-8CC7-44FB091611FF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CF77A647-EFAE-34AF-A045-AA9B14A4701F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DE753E36-BF24-29BF-5DB5-6C11801C3E0E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3B5B56FF-2248-B3D0-6089-76259DA29286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3D4E2150-936F-F8FE-F93F-2A863DE00ED2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B6EB857F-8BF3-41F8-DD63-7696C80194BF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CFF4451D-4C98-3B35-0CF7-C46A613EA13E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D296C268-0C30-FEE1-420A-E94F1D000548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7D97410A-2AF9-4BD0-E12C-9252658D55F7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41A32651-5D4B-7937-2D78-C6C0E7773F18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6EC5C2AB-CD51-ED34-9E6D-C0068209B800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C5BE405E-BAA8-CF2E-7A6B-4A69A794B7C0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43CA858D-0D4D-B03B-BC56-1D3D44786647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6CFBA6E6-3C22-3F71-7644-3ECA501806C9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552C7216-AB5A-2046-6A80-1B6659F9D5AD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DB7F5EFA-6C13-CF75-FCC1-D90BB77DD0DF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F81FCB1D-07CF-EA7A-AC51-A89934BC7CED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1" name="Rectangle 34">
                <a:extLst>
                  <a:ext uri="{FF2B5EF4-FFF2-40B4-BE49-F238E27FC236}">
                    <a16:creationId xmlns:a16="http://schemas.microsoft.com/office/drawing/2014/main" id="{412A2D6C-E586-408A-CFA7-DE4EBFDB82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5">
                <a:extLst>
                  <a:ext uri="{FF2B5EF4-FFF2-40B4-BE49-F238E27FC236}">
                    <a16:creationId xmlns:a16="http://schemas.microsoft.com/office/drawing/2014/main" id="{868A04B1-D6AA-E199-1922-98CEE9044B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6">
                <a:extLst>
                  <a:ext uri="{FF2B5EF4-FFF2-40B4-BE49-F238E27FC236}">
                    <a16:creationId xmlns:a16="http://schemas.microsoft.com/office/drawing/2014/main" id="{4039CD2E-D68B-8494-CE6A-26325B5CCD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7">
                <a:extLst>
                  <a:ext uri="{FF2B5EF4-FFF2-40B4-BE49-F238E27FC236}">
                    <a16:creationId xmlns:a16="http://schemas.microsoft.com/office/drawing/2014/main" id="{805BF2F4-9C1E-47B7-28A3-7C37E67C73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8">
                <a:extLst>
                  <a:ext uri="{FF2B5EF4-FFF2-40B4-BE49-F238E27FC236}">
                    <a16:creationId xmlns:a16="http://schemas.microsoft.com/office/drawing/2014/main" id="{BC70BB28-B900-DD38-FD74-3928E80F1C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9">
                <a:extLst>
                  <a:ext uri="{FF2B5EF4-FFF2-40B4-BE49-F238E27FC236}">
                    <a16:creationId xmlns:a16="http://schemas.microsoft.com/office/drawing/2014/main" id="{A178910E-B9EA-3367-B49C-01211C7524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0">
                <a:extLst>
                  <a:ext uri="{FF2B5EF4-FFF2-40B4-BE49-F238E27FC236}">
                    <a16:creationId xmlns:a16="http://schemas.microsoft.com/office/drawing/2014/main" id="{F7F2222A-8482-A9F5-1304-6A0CE377AD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1">
                <a:extLst>
                  <a:ext uri="{FF2B5EF4-FFF2-40B4-BE49-F238E27FC236}">
                    <a16:creationId xmlns:a16="http://schemas.microsoft.com/office/drawing/2014/main" id="{1FE8C39A-CF2A-E4A3-1E1D-F17E518559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2">
                <a:extLst>
                  <a:ext uri="{FF2B5EF4-FFF2-40B4-BE49-F238E27FC236}">
                    <a16:creationId xmlns:a16="http://schemas.microsoft.com/office/drawing/2014/main" id="{ACB9100D-95CA-225F-4BFC-E04427EE94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3">
                <a:extLst>
                  <a:ext uri="{FF2B5EF4-FFF2-40B4-BE49-F238E27FC236}">
                    <a16:creationId xmlns:a16="http://schemas.microsoft.com/office/drawing/2014/main" id="{187830B6-E847-4F98-38F6-2A5C153863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4">
                <a:extLst>
                  <a:ext uri="{FF2B5EF4-FFF2-40B4-BE49-F238E27FC236}">
                    <a16:creationId xmlns:a16="http://schemas.microsoft.com/office/drawing/2014/main" id="{AF5CD056-A8F5-EDBF-5F3A-42189D1A08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8" name="Slide edges">
              <a:extLst>
                <a:ext uri="{FF2B5EF4-FFF2-40B4-BE49-F238E27FC236}">
                  <a16:creationId xmlns:a16="http://schemas.microsoft.com/office/drawing/2014/main" id="{87A278F4-DE38-EB3C-E289-5D3744A11396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:a16="http://schemas.microsoft.com/office/drawing/2014/main" id="{A5346862-BAD4-33DD-102E-DD92916F92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980EE35D-1158-F3A6-73D6-52942E70F1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D312C19E-B4CA-77B4-03E6-7320BBEA48CD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6" name="Rectangle 5">
                <a:extLst>
                  <a:ext uri="{FF2B5EF4-FFF2-40B4-BE49-F238E27FC236}">
                    <a16:creationId xmlns:a16="http://schemas.microsoft.com/office/drawing/2014/main" id="{BF133050-59FD-E5C2-2B2F-F806922EB5B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7">
                <a:extLst>
                  <a:ext uri="{FF2B5EF4-FFF2-40B4-BE49-F238E27FC236}">
                    <a16:creationId xmlns:a16="http://schemas.microsoft.com/office/drawing/2014/main" id="{DEDE0052-8781-F6C2-6246-870EFAF269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9">
                <a:extLst>
                  <a:ext uri="{FF2B5EF4-FFF2-40B4-BE49-F238E27FC236}">
                    <a16:creationId xmlns:a16="http://schemas.microsoft.com/office/drawing/2014/main" id="{3336A52D-BBDE-60D3-5CB9-E4C34D701F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1">
                <a:extLst>
                  <a:ext uri="{FF2B5EF4-FFF2-40B4-BE49-F238E27FC236}">
                    <a16:creationId xmlns:a16="http://schemas.microsoft.com/office/drawing/2014/main" id="{6ABC0838-0855-BC3B-4496-95AA9D864C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3">
                <a:extLst>
                  <a:ext uri="{FF2B5EF4-FFF2-40B4-BE49-F238E27FC236}">
                    <a16:creationId xmlns:a16="http://schemas.microsoft.com/office/drawing/2014/main" id="{767E87B6-C907-AA85-9B52-7CF7D7FD65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4" name="Live area">
              <a:extLst>
                <a:ext uri="{FF2B5EF4-FFF2-40B4-BE49-F238E27FC236}">
                  <a16:creationId xmlns:a16="http://schemas.microsoft.com/office/drawing/2014/main" id="{D95DA06E-378C-C197-FC32-AC992F239546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5" name="Footnote example">
              <a:extLst>
                <a:ext uri="{FF2B5EF4-FFF2-40B4-BE49-F238E27FC236}">
                  <a16:creationId xmlns:a16="http://schemas.microsoft.com/office/drawing/2014/main" id="{C61AEBEB-D10C-937B-E9B6-0A6AE136B01D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10678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314C165-21AE-41D5-3ED3-80E812707637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26D4C457-4272-D824-0244-7A30114E6C70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47F73F0C-8022-EFD2-51FB-504639FECF00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D8084DF5-B7B2-4334-9229-B3BEAC546517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E02F7549-70E1-53AB-DDCE-F5974A059636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D4D9EF5D-F1F1-C1FB-4760-2CE211F9E0E5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88EAE398-CAD2-17F1-03D0-7C03721E060D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8BDAFE98-DE0F-64B2-12B9-F99485C72F5F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1746D58D-6A32-EB76-1EBA-3C2DDAC445CD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9756E2B3-C0F9-680E-B5AE-D44F44E83ED6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243D3AA3-EC15-CC3E-F6C4-4D17E673D356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DAB7B87B-D69F-83CD-96E4-E3E65251CF55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AB7FB700-045B-5F72-E5B6-FD8E456F094F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D38EB9A1-A95E-FE87-26C5-60EE84DDB0BD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D0DA0841-19DB-93EC-9DEC-B8D6154D7F94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18F1D50B-B741-03EC-3B6C-3658C67DF24E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4676570C-79FA-3565-C66B-1E736BA78470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9CE2C572-34DE-E7FE-A526-B58D8988305D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DC87E881-D780-52F3-0F72-D0DD1C041DEE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140F181D-0C87-A2AB-43E5-1421B0AAE6C2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F065E389-33D5-10C1-6854-1F41C753CA76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6707E8D9-DA3B-A8D2-8EAA-22FA7ECAA81F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DB3D616F-DBEE-E251-675D-35FB2E75E498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B0F17921-193A-7818-1E80-A92322194CA6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2" name="Rectangle 34">
                <a:extLst>
                  <a:ext uri="{FF2B5EF4-FFF2-40B4-BE49-F238E27FC236}">
                    <a16:creationId xmlns:a16="http://schemas.microsoft.com/office/drawing/2014/main" id="{E5B03BDD-16D9-4E2C-B43D-AD39AEEC62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5">
                <a:extLst>
                  <a:ext uri="{FF2B5EF4-FFF2-40B4-BE49-F238E27FC236}">
                    <a16:creationId xmlns:a16="http://schemas.microsoft.com/office/drawing/2014/main" id="{1A0C61D4-8DC1-CA21-254E-C70F903818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6">
                <a:extLst>
                  <a:ext uri="{FF2B5EF4-FFF2-40B4-BE49-F238E27FC236}">
                    <a16:creationId xmlns:a16="http://schemas.microsoft.com/office/drawing/2014/main" id="{373A6767-6BA3-90C6-3C45-415B3242B0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7">
                <a:extLst>
                  <a:ext uri="{FF2B5EF4-FFF2-40B4-BE49-F238E27FC236}">
                    <a16:creationId xmlns:a16="http://schemas.microsoft.com/office/drawing/2014/main" id="{5D0C6A67-77E9-7834-AB72-0BD151E7DD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8">
                <a:extLst>
                  <a:ext uri="{FF2B5EF4-FFF2-40B4-BE49-F238E27FC236}">
                    <a16:creationId xmlns:a16="http://schemas.microsoft.com/office/drawing/2014/main" id="{CAEE4215-F2D3-CEF7-6A0E-00E1B61D65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9">
                <a:extLst>
                  <a:ext uri="{FF2B5EF4-FFF2-40B4-BE49-F238E27FC236}">
                    <a16:creationId xmlns:a16="http://schemas.microsoft.com/office/drawing/2014/main" id="{84E09541-6EC8-77B4-C107-254E79B218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0">
                <a:extLst>
                  <a:ext uri="{FF2B5EF4-FFF2-40B4-BE49-F238E27FC236}">
                    <a16:creationId xmlns:a16="http://schemas.microsoft.com/office/drawing/2014/main" id="{843B4CD1-0CF0-ED85-1B93-E337E4D55E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1">
                <a:extLst>
                  <a:ext uri="{FF2B5EF4-FFF2-40B4-BE49-F238E27FC236}">
                    <a16:creationId xmlns:a16="http://schemas.microsoft.com/office/drawing/2014/main" id="{F973757E-201D-4A2E-C446-930B9D24CE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2">
                <a:extLst>
                  <a:ext uri="{FF2B5EF4-FFF2-40B4-BE49-F238E27FC236}">
                    <a16:creationId xmlns:a16="http://schemas.microsoft.com/office/drawing/2014/main" id="{66B9BDBF-F35C-EAB8-F221-39A258EA41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3">
                <a:extLst>
                  <a:ext uri="{FF2B5EF4-FFF2-40B4-BE49-F238E27FC236}">
                    <a16:creationId xmlns:a16="http://schemas.microsoft.com/office/drawing/2014/main" id="{A622BE76-C5E6-220E-66C0-A49992C2ED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4">
                <a:extLst>
                  <a:ext uri="{FF2B5EF4-FFF2-40B4-BE49-F238E27FC236}">
                    <a16:creationId xmlns:a16="http://schemas.microsoft.com/office/drawing/2014/main" id="{9CF4E354-C455-6E4F-37D8-74CFF97DD5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8A07D7F8-59C6-2719-BCB7-BA0948537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" name="Footnote measure">
              <a:extLst>
                <a:ext uri="{FF2B5EF4-FFF2-40B4-BE49-F238E27FC236}">
                  <a16:creationId xmlns:a16="http://schemas.microsoft.com/office/drawing/2014/main" id="{8115D2F7-07FC-FCD1-3963-3D84A3641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Whitespace measure">
              <a:extLst>
                <a:ext uri="{FF2B5EF4-FFF2-40B4-BE49-F238E27FC236}">
                  <a16:creationId xmlns:a16="http://schemas.microsoft.com/office/drawing/2014/main" id="{43265EDE-1830-3598-2624-378FA25236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Five column measure">
              <a:extLst>
                <a:ext uri="{FF2B5EF4-FFF2-40B4-BE49-F238E27FC236}">
                  <a16:creationId xmlns:a16="http://schemas.microsoft.com/office/drawing/2014/main" id="{4CC6B476-B523-0013-03C0-E988E6B96CE6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6" name="Rectangle 5">
                <a:extLst>
                  <a:ext uri="{FF2B5EF4-FFF2-40B4-BE49-F238E27FC236}">
                    <a16:creationId xmlns:a16="http://schemas.microsoft.com/office/drawing/2014/main" id="{535AD2D4-7570-8662-36DB-26070C6689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7">
                <a:extLst>
                  <a:ext uri="{FF2B5EF4-FFF2-40B4-BE49-F238E27FC236}">
                    <a16:creationId xmlns:a16="http://schemas.microsoft.com/office/drawing/2014/main" id="{B5793358-EFD0-9B6B-68D1-74C7929AF6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9">
                <a:extLst>
                  <a:ext uri="{FF2B5EF4-FFF2-40B4-BE49-F238E27FC236}">
                    <a16:creationId xmlns:a16="http://schemas.microsoft.com/office/drawing/2014/main" id="{A762311A-A766-EABD-A864-22D1C45E0E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1">
                <a:extLst>
                  <a:ext uri="{FF2B5EF4-FFF2-40B4-BE49-F238E27FC236}">
                    <a16:creationId xmlns:a16="http://schemas.microsoft.com/office/drawing/2014/main" id="{043F2E03-F19F-0E76-0796-1F6110A9B2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3">
                <a:extLst>
                  <a:ext uri="{FF2B5EF4-FFF2-40B4-BE49-F238E27FC236}">
                    <a16:creationId xmlns:a16="http://schemas.microsoft.com/office/drawing/2014/main" id="{E844A61E-DA6F-D87F-9FDC-C39C7E89CE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" name="Live area">
              <a:extLst>
                <a:ext uri="{FF2B5EF4-FFF2-40B4-BE49-F238E27FC236}">
                  <a16:creationId xmlns:a16="http://schemas.microsoft.com/office/drawing/2014/main" id="{7651C20F-9E89-DDE4-ED97-CF9B93AE55AC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B55B3F25-CCAA-1413-886C-7C70A11E0F1A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9187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/>
              <a:t>Agenda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FAFDE49-07D2-14EC-3B71-536EC1A159B6}"/>
              </a:ext>
            </a:extLst>
          </p:cNvPr>
          <p:cNvGrpSpPr/>
          <p:nvPr userDrawn="1">
            <p:custDataLst>
              <p:tags r:id="rId4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E4B16DD9-8C3B-754D-2B09-0A906C505449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8B606B98-4A33-593C-FEC9-39E2C281A974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EFC82904-8597-0994-8347-BCBF0BC0D36B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91CBB4E2-A172-6F98-9589-52FDD3AAB030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FA7E51C2-4B29-5883-B831-4E5F029CF0E7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6A05E5EA-EC01-3880-D640-071D05CC7535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2EA7B073-5AE0-81CC-9B4A-9D88DF904BDD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0338C644-6B81-FDB5-72C4-E248DABFE2E5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350F729B-1A35-B6B2-9049-82A981A6EE5D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12DEB4D1-BFED-B561-D3DF-6226AE56E38A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44517995-CA83-2188-6390-36962E86F369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6562C3B0-B0F8-BDCE-E8DF-0FB0376FF5FC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A98A03AC-954F-A319-242D-707FD65EE84A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9986FDBE-212B-3825-7873-9D6B160288F9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70622630-0D15-9FE1-2832-0C39F8EF2400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CBA3917D-E645-EC2D-8808-5A0EE5D2029D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55E96B40-8676-DFBF-F89A-96509A155977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D3C12485-C8FF-B5D8-F6D4-8BBB725248E5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8FD65D3D-D9DF-B6C8-3493-1191C8A5B9E6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709F50AF-59EF-EB4C-6354-FAA31246EDA2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2DC6D35D-78F7-C30E-28DC-C1AAD57E5C6A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DF4ED0FA-E5DC-3655-5601-CBACC5813BF1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9E2DC444-4224-F276-B05F-A2880FE2FD61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2" name="Rectangle 34">
                <a:extLst>
                  <a:ext uri="{FF2B5EF4-FFF2-40B4-BE49-F238E27FC236}">
                    <a16:creationId xmlns:a16="http://schemas.microsoft.com/office/drawing/2014/main" id="{91DF7EB4-2B42-7677-587F-56F4A06CA2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5">
                <a:extLst>
                  <a:ext uri="{FF2B5EF4-FFF2-40B4-BE49-F238E27FC236}">
                    <a16:creationId xmlns:a16="http://schemas.microsoft.com/office/drawing/2014/main" id="{90A98913-4ABD-B407-F4B1-02AE7BEF1A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6">
                <a:extLst>
                  <a:ext uri="{FF2B5EF4-FFF2-40B4-BE49-F238E27FC236}">
                    <a16:creationId xmlns:a16="http://schemas.microsoft.com/office/drawing/2014/main" id="{CE5CE983-088E-808B-1E97-7760B754B9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7">
                <a:extLst>
                  <a:ext uri="{FF2B5EF4-FFF2-40B4-BE49-F238E27FC236}">
                    <a16:creationId xmlns:a16="http://schemas.microsoft.com/office/drawing/2014/main" id="{B6F60725-A7A7-D44E-73EE-63E7BDDCC4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8">
                <a:extLst>
                  <a:ext uri="{FF2B5EF4-FFF2-40B4-BE49-F238E27FC236}">
                    <a16:creationId xmlns:a16="http://schemas.microsoft.com/office/drawing/2014/main" id="{7E5F5E3B-8FB2-FF87-2A6B-8B36F1CA51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9">
                <a:extLst>
                  <a:ext uri="{FF2B5EF4-FFF2-40B4-BE49-F238E27FC236}">
                    <a16:creationId xmlns:a16="http://schemas.microsoft.com/office/drawing/2014/main" id="{E516FE30-54FA-4043-2446-7C66DA0A75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0">
                <a:extLst>
                  <a:ext uri="{FF2B5EF4-FFF2-40B4-BE49-F238E27FC236}">
                    <a16:creationId xmlns:a16="http://schemas.microsoft.com/office/drawing/2014/main" id="{AFE98A4C-A4B6-6A48-56F3-85F1C18AF4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1">
                <a:extLst>
                  <a:ext uri="{FF2B5EF4-FFF2-40B4-BE49-F238E27FC236}">
                    <a16:creationId xmlns:a16="http://schemas.microsoft.com/office/drawing/2014/main" id="{B5C8F4F7-A082-29A4-B308-FDF4C3DE08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2">
                <a:extLst>
                  <a:ext uri="{FF2B5EF4-FFF2-40B4-BE49-F238E27FC236}">
                    <a16:creationId xmlns:a16="http://schemas.microsoft.com/office/drawing/2014/main" id="{247B9DFC-BB42-43FA-BA04-2C6A90430A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3">
                <a:extLst>
                  <a:ext uri="{FF2B5EF4-FFF2-40B4-BE49-F238E27FC236}">
                    <a16:creationId xmlns:a16="http://schemas.microsoft.com/office/drawing/2014/main" id="{B77B2ED3-B408-9955-528D-5A171C3D8D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4">
                <a:extLst>
                  <a:ext uri="{FF2B5EF4-FFF2-40B4-BE49-F238E27FC236}">
                    <a16:creationId xmlns:a16="http://schemas.microsoft.com/office/drawing/2014/main" id="{E29BFC32-8A13-CCF4-B21C-E9CD679F85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D17775C0-F509-0FA9-5F05-2D6FE9718FBB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2" name="Footnote measure">
              <a:extLst>
                <a:ext uri="{FF2B5EF4-FFF2-40B4-BE49-F238E27FC236}">
                  <a16:creationId xmlns:a16="http://schemas.microsoft.com/office/drawing/2014/main" id="{BB405D37-9EA9-AAED-2F9F-4CD75BAED3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Whitespace measure">
              <a:extLst>
                <a:ext uri="{FF2B5EF4-FFF2-40B4-BE49-F238E27FC236}">
                  <a16:creationId xmlns:a16="http://schemas.microsoft.com/office/drawing/2014/main" id="{A8CA9213-C416-6FB3-2365-1EC39FC109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4" name="Five column measure">
              <a:extLst>
                <a:ext uri="{FF2B5EF4-FFF2-40B4-BE49-F238E27FC236}">
                  <a16:creationId xmlns:a16="http://schemas.microsoft.com/office/drawing/2014/main" id="{83840C68-C99D-3D20-5DC1-8DD261B4349C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7" name="Rectangle 5">
                <a:extLst>
                  <a:ext uri="{FF2B5EF4-FFF2-40B4-BE49-F238E27FC236}">
                    <a16:creationId xmlns:a16="http://schemas.microsoft.com/office/drawing/2014/main" id="{63251F2E-C9C6-92D9-9F6F-73491E794C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7">
                <a:extLst>
                  <a:ext uri="{FF2B5EF4-FFF2-40B4-BE49-F238E27FC236}">
                    <a16:creationId xmlns:a16="http://schemas.microsoft.com/office/drawing/2014/main" id="{C29EAAC8-E66A-EF7A-DE38-6EF68E7506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9">
                <a:extLst>
                  <a:ext uri="{FF2B5EF4-FFF2-40B4-BE49-F238E27FC236}">
                    <a16:creationId xmlns:a16="http://schemas.microsoft.com/office/drawing/2014/main" id="{973E5125-BD5E-0F67-B3BA-FA1DEFCA4A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1">
                <a:extLst>
                  <a:ext uri="{FF2B5EF4-FFF2-40B4-BE49-F238E27FC236}">
                    <a16:creationId xmlns:a16="http://schemas.microsoft.com/office/drawing/2014/main" id="{33F8467A-8256-8F6D-04D0-897AD10AA12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3">
                <a:extLst>
                  <a:ext uri="{FF2B5EF4-FFF2-40B4-BE49-F238E27FC236}">
                    <a16:creationId xmlns:a16="http://schemas.microsoft.com/office/drawing/2014/main" id="{86B59927-3A2F-3BE6-6C53-2798F6B947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5" name="Live area">
              <a:extLst>
                <a:ext uri="{FF2B5EF4-FFF2-40B4-BE49-F238E27FC236}">
                  <a16:creationId xmlns:a16="http://schemas.microsoft.com/office/drawing/2014/main" id="{C03C35F1-FCA8-7C48-E0B6-7BDBFC28F810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6" name="Footnote example">
              <a:extLst>
                <a:ext uri="{FF2B5EF4-FFF2-40B4-BE49-F238E27FC236}">
                  <a16:creationId xmlns:a16="http://schemas.microsoft.com/office/drawing/2014/main" id="{8281455B-FEC5-4C4C-4253-6ECF0F66680E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51635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70E1D92-7E63-155D-DE52-9376820417C0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7BA7933B-DD9C-E5F3-25DA-E9F5C9525818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41D60700-C49B-CC32-0E07-2CD244425136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3340F798-75C3-9212-0199-EBDC79EB7B00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B288F795-4609-635E-D5D0-25C907445262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9213E802-5723-E038-3FA7-629D9E3FCA84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C3845435-8DBB-0771-6F43-27E6C863F84A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364B3875-B5C8-6DDA-805D-D9C2FCC32F71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C6B787BA-1BC0-3FEA-9490-8854FA39F5E3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91309D94-2D6A-6977-2408-FCAE604EBD56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BA7377EA-68EE-F3C8-09B5-984EBAFFC432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B409B2D2-785B-CAE6-9337-37FC65A4F8E0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D9F07404-6B0A-00E8-D4DF-B5A1C7594697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B3ED3B0A-0E03-8794-C522-4D4B97B81FF6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A108AA54-B0CF-1930-F463-BE94ED877778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37CECDDD-F9F4-E327-25C5-64A823300EDC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B1B7D0BC-FEBD-9092-EF67-86E87A155E05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B2153565-771E-763C-770E-C51F5B75A97E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FA3B2B8D-6AF3-A177-5D21-447EDF27F517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7BB8A3F0-0504-4DCC-D990-2B5D9F6AF33E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0AE4CFB2-60E9-03E0-915B-B8ECF133FE1B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96C68F7A-FA06-75F3-DF6B-C27ABD243ACB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C0C2077F-0861-396B-C9B2-360C8670968F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4137B458-F49A-4FD0-688D-0D92449AD1C7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0" name="Rectangle 34">
                <a:extLst>
                  <a:ext uri="{FF2B5EF4-FFF2-40B4-BE49-F238E27FC236}">
                    <a16:creationId xmlns:a16="http://schemas.microsoft.com/office/drawing/2014/main" id="{B6805574-D3D4-7EF7-EDA2-E3D4CD4303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35">
                <a:extLst>
                  <a:ext uri="{FF2B5EF4-FFF2-40B4-BE49-F238E27FC236}">
                    <a16:creationId xmlns:a16="http://schemas.microsoft.com/office/drawing/2014/main" id="{AFE17A9B-705A-CF10-45C8-3C84EA5CD0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6">
                <a:extLst>
                  <a:ext uri="{FF2B5EF4-FFF2-40B4-BE49-F238E27FC236}">
                    <a16:creationId xmlns:a16="http://schemas.microsoft.com/office/drawing/2014/main" id="{F6640419-E097-7F18-7604-A7B5D101EA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7">
                <a:extLst>
                  <a:ext uri="{FF2B5EF4-FFF2-40B4-BE49-F238E27FC236}">
                    <a16:creationId xmlns:a16="http://schemas.microsoft.com/office/drawing/2014/main" id="{BB877830-9377-8505-6F7E-365FC57126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8">
                <a:extLst>
                  <a:ext uri="{FF2B5EF4-FFF2-40B4-BE49-F238E27FC236}">
                    <a16:creationId xmlns:a16="http://schemas.microsoft.com/office/drawing/2014/main" id="{9A58A5BB-8AEB-E169-8DE2-4818BB221F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9">
                <a:extLst>
                  <a:ext uri="{FF2B5EF4-FFF2-40B4-BE49-F238E27FC236}">
                    <a16:creationId xmlns:a16="http://schemas.microsoft.com/office/drawing/2014/main" id="{80745D15-101C-5CE0-3C95-52D8068838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40">
                <a:extLst>
                  <a:ext uri="{FF2B5EF4-FFF2-40B4-BE49-F238E27FC236}">
                    <a16:creationId xmlns:a16="http://schemas.microsoft.com/office/drawing/2014/main" id="{D01CBDF0-51A2-18E8-FC0A-574A991184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1">
                <a:extLst>
                  <a:ext uri="{FF2B5EF4-FFF2-40B4-BE49-F238E27FC236}">
                    <a16:creationId xmlns:a16="http://schemas.microsoft.com/office/drawing/2014/main" id="{C67DBBCF-1C71-E9AF-B71C-4C4FD49AE5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2">
                <a:extLst>
                  <a:ext uri="{FF2B5EF4-FFF2-40B4-BE49-F238E27FC236}">
                    <a16:creationId xmlns:a16="http://schemas.microsoft.com/office/drawing/2014/main" id="{34E041E7-2867-0814-F3FA-074F7BC823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3">
                <a:extLst>
                  <a:ext uri="{FF2B5EF4-FFF2-40B4-BE49-F238E27FC236}">
                    <a16:creationId xmlns:a16="http://schemas.microsoft.com/office/drawing/2014/main" id="{0CF24439-C2C9-84C0-805F-D675F05A10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4">
                <a:extLst>
                  <a:ext uri="{FF2B5EF4-FFF2-40B4-BE49-F238E27FC236}">
                    <a16:creationId xmlns:a16="http://schemas.microsoft.com/office/drawing/2014/main" id="{AAFC123F-364C-789F-4953-7C57F9A76B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158EA7EA-77EB-A3D5-439E-EEF37DD78A2F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:a16="http://schemas.microsoft.com/office/drawing/2014/main" id="{E5B8B0FC-AF63-BE24-7452-E9478E1B17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9DE93F1D-B815-54C6-0694-65EDFB435D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5E9E24A3-52EA-2C57-928C-C059165A2536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" name="Rectangle 5">
                <a:extLst>
                  <a:ext uri="{FF2B5EF4-FFF2-40B4-BE49-F238E27FC236}">
                    <a16:creationId xmlns:a16="http://schemas.microsoft.com/office/drawing/2014/main" id="{91B17EA8-935E-6D2F-E357-C13FD3C2EA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7">
                <a:extLst>
                  <a:ext uri="{FF2B5EF4-FFF2-40B4-BE49-F238E27FC236}">
                    <a16:creationId xmlns:a16="http://schemas.microsoft.com/office/drawing/2014/main" id="{8EABB188-E2AA-866C-0BB2-CF893C3DFE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9">
                <a:extLst>
                  <a:ext uri="{FF2B5EF4-FFF2-40B4-BE49-F238E27FC236}">
                    <a16:creationId xmlns:a16="http://schemas.microsoft.com/office/drawing/2014/main" id="{25D31775-92B5-7863-C6E1-55E14A5844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11">
                <a:extLst>
                  <a:ext uri="{FF2B5EF4-FFF2-40B4-BE49-F238E27FC236}">
                    <a16:creationId xmlns:a16="http://schemas.microsoft.com/office/drawing/2014/main" id="{C456DB7F-E1C6-569B-4D21-5F8BA9C0DF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3">
                <a:extLst>
                  <a:ext uri="{FF2B5EF4-FFF2-40B4-BE49-F238E27FC236}">
                    <a16:creationId xmlns:a16="http://schemas.microsoft.com/office/drawing/2014/main" id="{B0E25E35-1168-23DA-E8D8-EBD70D8DCE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3" name="Live area">
              <a:extLst>
                <a:ext uri="{FF2B5EF4-FFF2-40B4-BE49-F238E27FC236}">
                  <a16:creationId xmlns:a16="http://schemas.microsoft.com/office/drawing/2014/main" id="{9A7926CC-7C0C-304A-1E4F-B45AB5444912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F96BC3F1-6F59-C558-E87B-937DFA93FD6A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86536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B9404D7F-4936-0873-9E63-D2E5ABC77C29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C272A51F-FE58-8224-A023-049102AE822C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13AE0B77-02E4-29EC-CDDE-E3C37271F0FD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A8C82828-50A2-07B3-6FE8-5B6E22A2CBE7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2B7B9CE5-2E53-3FB3-B8ED-F7BA6ACEFC92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BB9D2D81-56E5-9F70-6BB3-DE62BD971F1A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E501444D-D284-35EC-D16F-C0B45FFDF2C9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A7A24CC9-E310-99E6-FFE8-50B9EA5EC389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D5B178A1-F94F-C32E-D0F0-94455788E047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C0A44C13-1764-A0DF-9B85-A93CFFCBCCE5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61A05C6C-8D8F-DF73-221B-55F63C954446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9DEF6777-7CAB-83BA-FCD1-EB7D17013696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E12821C8-189C-A644-ECB0-222893F2534A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B793CD9F-C9A4-7817-1E25-00840643A5A7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31C4FC94-AD8D-A46E-0120-4D1D7CA3E242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7E29A4C3-0AE9-5072-C9AE-EE94FB17E1E0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FB82D04A-470D-C564-5B35-FEC028292FC7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214A4AA6-2905-84E1-63F8-75387BE51E8E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71DCFFA3-885F-DEE5-0C01-8452B89EA92C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F59B9480-A2DB-8F7E-1AE7-4908CBC4A289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C6B6249E-6292-4D0A-BBF5-BC8BF5E50010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2BB30EBD-2D2B-2EB5-20C4-3507E0DE13F0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2FF32EB9-99C3-8EA5-7C49-34761269D923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D34FCB5E-8D27-23AA-2469-FCDA2A945FC2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0" name="Rectangle 34">
                <a:extLst>
                  <a:ext uri="{FF2B5EF4-FFF2-40B4-BE49-F238E27FC236}">
                    <a16:creationId xmlns:a16="http://schemas.microsoft.com/office/drawing/2014/main" id="{02C4B2CD-F80B-6DE2-49D1-4D696B4EFA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35">
                <a:extLst>
                  <a:ext uri="{FF2B5EF4-FFF2-40B4-BE49-F238E27FC236}">
                    <a16:creationId xmlns:a16="http://schemas.microsoft.com/office/drawing/2014/main" id="{1C2D87FB-377F-0AA8-E1C2-86A741F56C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6">
                <a:extLst>
                  <a:ext uri="{FF2B5EF4-FFF2-40B4-BE49-F238E27FC236}">
                    <a16:creationId xmlns:a16="http://schemas.microsoft.com/office/drawing/2014/main" id="{D82C6E96-54F4-16E1-5B6B-257C19D174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7">
                <a:extLst>
                  <a:ext uri="{FF2B5EF4-FFF2-40B4-BE49-F238E27FC236}">
                    <a16:creationId xmlns:a16="http://schemas.microsoft.com/office/drawing/2014/main" id="{B154261B-D1E4-5BA0-A69A-C8A49FBCFC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8">
                <a:extLst>
                  <a:ext uri="{FF2B5EF4-FFF2-40B4-BE49-F238E27FC236}">
                    <a16:creationId xmlns:a16="http://schemas.microsoft.com/office/drawing/2014/main" id="{6ADB9D66-4105-7AB9-C331-960EB2FE05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9">
                <a:extLst>
                  <a:ext uri="{FF2B5EF4-FFF2-40B4-BE49-F238E27FC236}">
                    <a16:creationId xmlns:a16="http://schemas.microsoft.com/office/drawing/2014/main" id="{6F14CB95-AB87-5F77-079C-4B00EDDB60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40">
                <a:extLst>
                  <a:ext uri="{FF2B5EF4-FFF2-40B4-BE49-F238E27FC236}">
                    <a16:creationId xmlns:a16="http://schemas.microsoft.com/office/drawing/2014/main" id="{5F3C6C3D-66DD-0CE7-DE1E-98E13DA933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1">
                <a:extLst>
                  <a:ext uri="{FF2B5EF4-FFF2-40B4-BE49-F238E27FC236}">
                    <a16:creationId xmlns:a16="http://schemas.microsoft.com/office/drawing/2014/main" id="{B8E3B77C-945A-0CCC-211C-D74FB0B3E7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2">
                <a:extLst>
                  <a:ext uri="{FF2B5EF4-FFF2-40B4-BE49-F238E27FC236}">
                    <a16:creationId xmlns:a16="http://schemas.microsoft.com/office/drawing/2014/main" id="{2605858E-786B-4BE5-D13C-64EA2E9934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3">
                <a:extLst>
                  <a:ext uri="{FF2B5EF4-FFF2-40B4-BE49-F238E27FC236}">
                    <a16:creationId xmlns:a16="http://schemas.microsoft.com/office/drawing/2014/main" id="{E0D6D449-6535-C48D-B4AB-C7C8691E38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4">
                <a:extLst>
                  <a:ext uri="{FF2B5EF4-FFF2-40B4-BE49-F238E27FC236}">
                    <a16:creationId xmlns:a16="http://schemas.microsoft.com/office/drawing/2014/main" id="{B3FD476F-5DAE-8C0C-4572-D344D831BC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8" name="Slide edges">
              <a:extLst>
                <a:ext uri="{FF2B5EF4-FFF2-40B4-BE49-F238E27FC236}">
                  <a16:creationId xmlns:a16="http://schemas.microsoft.com/office/drawing/2014/main" id="{D920BF43-DE29-0CA7-BEA3-DF0A4AB32E2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0" name="Footnote measure">
              <a:extLst>
                <a:ext uri="{FF2B5EF4-FFF2-40B4-BE49-F238E27FC236}">
                  <a16:creationId xmlns:a16="http://schemas.microsoft.com/office/drawing/2014/main" id="{A4B60BBC-7616-CAF3-357D-5A1C404C5E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787A05A1-3691-C8F2-9F60-7B9BF1E1EE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1F687EBA-0AEF-6E66-4D3D-EBEA0A7B7D50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" name="Rectangle 5">
                <a:extLst>
                  <a:ext uri="{FF2B5EF4-FFF2-40B4-BE49-F238E27FC236}">
                    <a16:creationId xmlns:a16="http://schemas.microsoft.com/office/drawing/2014/main" id="{2F17F1B9-4D89-AA56-C115-023AA61746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7">
                <a:extLst>
                  <a:ext uri="{FF2B5EF4-FFF2-40B4-BE49-F238E27FC236}">
                    <a16:creationId xmlns:a16="http://schemas.microsoft.com/office/drawing/2014/main" id="{92C5577F-A721-C1C8-C85D-5013DB8074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9">
                <a:extLst>
                  <a:ext uri="{FF2B5EF4-FFF2-40B4-BE49-F238E27FC236}">
                    <a16:creationId xmlns:a16="http://schemas.microsoft.com/office/drawing/2014/main" id="{0527EA41-6D9C-3683-19D8-FBD8A2757C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11">
                <a:extLst>
                  <a:ext uri="{FF2B5EF4-FFF2-40B4-BE49-F238E27FC236}">
                    <a16:creationId xmlns:a16="http://schemas.microsoft.com/office/drawing/2014/main" id="{D3E18789-2AC0-23B6-863A-3896EB2BAE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3">
                <a:extLst>
                  <a:ext uri="{FF2B5EF4-FFF2-40B4-BE49-F238E27FC236}">
                    <a16:creationId xmlns:a16="http://schemas.microsoft.com/office/drawing/2014/main" id="{099FA6EC-BDC8-59DE-4011-76B8F3D16D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3" name="Live area">
              <a:extLst>
                <a:ext uri="{FF2B5EF4-FFF2-40B4-BE49-F238E27FC236}">
                  <a16:creationId xmlns:a16="http://schemas.microsoft.com/office/drawing/2014/main" id="{A6973BBF-B57E-6E74-F1E3-B8254C4618E8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A4304E6A-275E-A1AB-7802-19ECDDE57F9C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12068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BF36981-056D-572E-4D4F-283D7BCBECAD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706DAE92-C9CD-BEA1-8E7B-94E23F72DF1C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F4012009-3864-0CD0-8919-8DFB3E20625A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4A6E98DE-868F-2E62-4A9B-D9CFA5079598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25EB0DAD-E6D1-E164-F90E-EB928A379299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763E1435-A62D-A753-3E3D-B0D66730D9A0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38C88576-6A7E-2151-413E-A3F690554DB2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C53CCEE1-62AA-1D14-930D-B130947C0407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B98C12FE-52FF-0869-0B3C-175A36D2543A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71C9CD45-0B43-C7AA-3088-F9B9D51FE69B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3CA55407-D4F1-DAE0-3068-28915D2DE38F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AAEA3F6A-934D-9D47-C9D0-C499AF8E4F3A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BF9470EF-E92F-7FFF-C146-FFB87BCBC243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B5B21977-87F8-DADC-53F8-480EF286905C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DF14D82A-04F3-C8E7-A0D4-B532DF38CA1A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195E2B6A-26E6-DE3D-6903-FADAE670101B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82A356F3-9B1E-73B4-79F8-E415D60BDB8E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FD820307-AB79-2A7E-738A-8B088B481219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1779D7EC-75DE-5A3D-E4A0-EBC26BC81034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E5D87AC4-6EB3-0D6B-A8D1-F1876859E2C3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CA8D6608-D458-890B-B028-61EA348F0074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3D8914F7-46E4-4605-0EA8-0538C5999935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83B877E5-5F40-D7E8-5E1A-1CBF112A51EA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0BE1C919-8FA5-272E-23E9-11D9324882D0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9" name="Rectangle 34">
                <a:extLst>
                  <a:ext uri="{FF2B5EF4-FFF2-40B4-BE49-F238E27FC236}">
                    <a16:creationId xmlns:a16="http://schemas.microsoft.com/office/drawing/2014/main" id="{F315B324-FCDB-B65B-EB02-ED838EEAE6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35">
                <a:extLst>
                  <a:ext uri="{FF2B5EF4-FFF2-40B4-BE49-F238E27FC236}">
                    <a16:creationId xmlns:a16="http://schemas.microsoft.com/office/drawing/2014/main" id="{04E91065-DD22-C2B0-B794-C83B553C87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36">
                <a:extLst>
                  <a:ext uri="{FF2B5EF4-FFF2-40B4-BE49-F238E27FC236}">
                    <a16:creationId xmlns:a16="http://schemas.microsoft.com/office/drawing/2014/main" id="{915D3721-D967-0861-A474-A319838013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7">
                <a:extLst>
                  <a:ext uri="{FF2B5EF4-FFF2-40B4-BE49-F238E27FC236}">
                    <a16:creationId xmlns:a16="http://schemas.microsoft.com/office/drawing/2014/main" id="{BE6226B2-ABC1-1B8C-E259-6D25D40B6C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8">
                <a:extLst>
                  <a:ext uri="{FF2B5EF4-FFF2-40B4-BE49-F238E27FC236}">
                    <a16:creationId xmlns:a16="http://schemas.microsoft.com/office/drawing/2014/main" id="{925B08FA-097F-C413-E63E-8B423A5791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9">
                <a:extLst>
                  <a:ext uri="{FF2B5EF4-FFF2-40B4-BE49-F238E27FC236}">
                    <a16:creationId xmlns:a16="http://schemas.microsoft.com/office/drawing/2014/main" id="{229D08A2-359B-A1EA-6C60-4F85F971E8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0">
                <a:extLst>
                  <a:ext uri="{FF2B5EF4-FFF2-40B4-BE49-F238E27FC236}">
                    <a16:creationId xmlns:a16="http://schemas.microsoft.com/office/drawing/2014/main" id="{C529B1E5-408E-FDC9-C841-AAF24F8129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1">
                <a:extLst>
                  <a:ext uri="{FF2B5EF4-FFF2-40B4-BE49-F238E27FC236}">
                    <a16:creationId xmlns:a16="http://schemas.microsoft.com/office/drawing/2014/main" id="{037ED484-B6CB-EC6E-CBA1-F428AE5A07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2">
                <a:extLst>
                  <a:ext uri="{FF2B5EF4-FFF2-40B4-BE49-F238E27FC236}">
                    <a16:creationId xmlns:a16="http://schemas.microsoft.com/office/drawing/2014/main" id="{561D290E-8AA3-7256-AC95-9DD8E31849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3">
                <a:extLst>
                  <a:ext uri="{FF2B5EF4-FFF2-40B4-BE49-F238E27FC236}">
                    <a16:creationId xmlns:a16="http://schemas.microsoft.com/office/drawing/2014/main" id="{FF00A38C-44EF-B970-44CF-D84808B2B0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4">
                <a:extLst>
                  <a:ext uri="{FF2B5EF4-FFF2-40B4-BE49-F238E27FC236}">
                    <a16:creationId xmlns:a16="http://schemas.microsoft.com/office/drawing/2014/main" id="{395A78D8-7CC3-7789-A440-BF66A5B999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C607E851-D53C-491F-B19F-BF4D797BD91A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" name="Footnote measure">
              <a:extLst>
                <a:ext uri="{FF2B5EF4-FFF2-40B4-BE49-F238E27FC236}">
                  <a16:creationId xmlns:a16="http://schemas.microsoft.com/office/drawing/2014/main" id="{939649F5-F560-981B-8342-E091EB6156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Whitespace measure">
              <a:extLst>
                <a:ext uri="{FF2B5EF4-FFF2-40B4-BE49-F238E27FC236}">
                  <a16:creationId xmlns:a16="http://schemas.microsoft.com/office/drawing/2014/main" id="{1A673E4E-4D25-6AE5-9A7A-8ADC9C0F37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Five column measure">
              <a:extLst>
                <a:ext uri="{FF2B5EF4-FFF2-40B4-BE49-F238E27FC236}">
                  <a16:creationId xmlns:a16="http://schemas.microsoft.com/office/drawing/2014/main" id="{81510447-BD2C-0514-4952-E127B4E35AC8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4" name="Rectangle 5">
                <a:extLst>
                  <a:ext uri="{FF2B5EF4-FFF2-40B4-BE49-F238E27FC236}">
                    <a16:creationId xmlns:a16="http://schemas.microsoft.com/office/drawing/2014/main" id="{E942AE41-D94B-7B46-F2EF-EAA30B1CD2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Rectangle 7">
                <a:extLst>
                  <a:ext uri="{FF2B5EF4-FFF2-40B4-BE49-F238E27FC236}">
                    <a16:creationId xmlns:a16="http://schemas.microsoft.com/office/drawing/2014/main" id="{185FD1F5-6025-F5E5-7719-5B22832AB1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9">
                <a:extLst>
                  <a:ext uri="{FF2B5EF4-FFF2-40B4-BE49-F238E27FC236}">
                    <a16:creationId xmlns:a16="http://schemas.microsoft.com/office/drawing/2014/main" id="{1A6F3640-4588-897F-1741-088F0C95B8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11">
                <a:extLst>
                  <a:ext uri="{FF2B5EF4-FFF2-40B4-BE49-F238E27FC236}">
                    <a16:creationId xmlns:a16="http://schemas.microsoft.com/office/drawing/2014/main" id="{6510E0A4-0BFF-896C-7598-C369CDDC3A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13">
                <a:extLst>
                  <a:ext uri="{FF2B5EF4-FFF2-40B4-BE49-F238E27FC236}">
                    <a16:creationId xmlns:a16="http://schemas.microsoft.com/office/drawing/2014/main" id="{7CBD1522-324D-50D0-B0AE-50346983EA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" name="Live area">
              <a:extLst>
                <a:ext uri="{FF2B5EF4-FFF2-40B4-BE49-F238E27FC236}">
                  <a16:creationId xmlns:a16="http://schemas.microsoft.com/office/drawing/2014/main" id="{E151D74C-11CF-8338-9024-BA32343CED78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3" name="Footnote example">
              <a:extLst>
                <a:ext uri="{FF2B5EF4-FFF2-40B4-BE49-F238E27FC236}">
                  <a16:creationId xmlns:a16="http://schemas.microsoft.com/office/drawing/2014/main" id="{244932D3-31E0-9DAB-F95B-A1D8AD399AE1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51047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05B6A3DE-AA58-D90B-D3DD-981250CFF5CC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F5ED160F-C5ED-740E-9FA3-E76CB77A00D7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64620D4A-BF12-8794-75CB-1AD9584A3BC6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7F353751-27B9-B345-9495-824AEAA22BE4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60209FF1-B8F2-E44A-B8C0-9D89C9CDB04B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00631B83-623E-9982-AD36-1E7588654E51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F5C63781-7281-F35F-A53D-E24E35218B23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0B1FC9F0-1D63-203F-BE3C-5139FF7FF32A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CF121897-0ECB-B432-B946-9DD8520620CC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05A467C5-1CC1-263A-6731-CAB2098FAECC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480F6AEA-AC18-E80C-B6C8-E0A5B8510ECE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CA9C74F9-B169-B905-0B8A-360E1B84B43A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2DB3E2D3-7D17-64D4-EE62-8A77241D6629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316930B3-43CA-0EF0-2382-FDDB2CE3BC4B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DA5C2480-564B-C2CC-2D97-D2814532DA9D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64FA197E-C694-69D0-ABDD-D6D2A9709FEC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9FB00092-7A93-A520-4AB4-9EEB11934F1B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C2C1245A-1B2F-3E71-1C89-9954B9241A3E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805AEAF0-25D9-D652-F249-F6F55676DEAA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61AC47DE-3307-7EAA-6BC7-F49019C68F64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2AE70329-B05C-AD32-C8BF-ABF5BB55343C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E95EE4C2-7E73-8527-EE1F-DEE202125A53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BAC23B7C-A8A8-78AA-9385-16B93C0AA41C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CEB7B37D-EEFB-AB3B-9594-9D9E90349F62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3" name="Rectangle 34">
                <a:extLst>
                  <a:ext uri="{FF2B5EF4-FFF2-40B4-BE49-F238E27FC236}">
                    <a16:creationId xmlns:a16="http://schemas.microsoft.com/office/drawing/2014/main" id="{A7343B50-741D-2961-5DF4-E0ECB31DD1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5">
                <a:extLst>
                  <a:ext uri="{FF2B5EF4-FFF2-40B4-BE49-F238E27FC236}">
                    <a16:creationId xmlns:a16="http://schemas.microsoft.com/office/drawing/2014/main" id="{967ABFA1-3800-4440-4D4C-FCD595A52C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6">
                <a:extLst>
                  <a:ext uri="{FF2B5EF4-FFF2-40B4-BE49-F238E27FC236}">
                    <a16:creationId xmlns:a16="http://schemas.microsoft.com/office/drawing/2014/main" id="{A477E035-C9BC-CD8F-E979-509E73F9A3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7">
                <a:extLst>
                  <a:ext uri="{FF2B5EF4-FFF2-40B4-BE49-F238E27FC236}">
                    <a16:creationId xmlns:a16="http://schemas.microsoft.com/office/drawing/2014/main" id="{68CD6ED5-05BC-6027-36C4-D169EDED0F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8">
                <a:extLst>
                  <a:ext uri="{FF2B5EF4-FFF2-40B4-BE49-F238E27FC236}">
                    <a16:creationId xmlns:a16="http://schemas.microsoft.com/office/drawing/2014/main" id="{D33A4C27-C57E-AE85-CD1F-D3448CD211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39">
                <a:extLst>
                  <a:ext uri="{FF2B5EF4-FFF2-40B4-BE49-F238E27FC236}">
                    <a16:creationId xmlns:a16="http://schemas.microsoft.com/office/drawing/2014/main" id="{95DED488-59CE-B776-CD1B-3AA197D3E1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0">
                <a:extLst>
                  <a:ext uri="{FF2B5EF4-FFF2-40B4-BE49-F238E27FC236}">
                    <a16:creationId xmlns:a16="http://schemas.microsoft.com/office/drawing/2014/main" id="{B493EE6B-0FDD-9208-E57A-3DA2A9F05A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1">
                <a:extLst>
                  <a:ext uri="{FF2B5EF4-FFF2-40B4-BE49-F238E27FC236}">
                    <a16:creationId xmlns:a16="http://schemas.microsoft.com/office/drawing/2014/main" id="{91E1CF84-8B87-35AA-733D-C59F3AAB4C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2">
                <a:extLst>
                  <a:ext uri="{FF2B5EF4-FFF2-40B4-BE49-F238E27FC236}">
                    <a16:creationId xmlns:a16="http://schemas.microsoft.com/office/drawing/2014/main" id="{8C26DD8A-681F-4DB4-49A8-AF8663732C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3">
                <a:extLst>
                  <a:ext uri="{FF2B5EF4-FFF2-40B4-BE49-F238E27FC236}">
                    <a16:creationId xmlns:a16="http://schemas.microsoft.com/office/drawing/2014/main" id="{C6D86204-C89B-6201-984B-D95C0E863D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44">
                <a:extLst>
                  <a:ext uri="{FF2B5EF4-FFF2-40B4-BE49-F238E27FC236}">
                    <a16:creationId xmlns:a16="http://schemas.microsoft.com/office/drawing/2014/main" id="{75557E2F-429D-E5C7-3020-0E1DD5FC62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ABA1A73D-94CB-5601-E2CB-E1EEA13F9157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" name="Footnote measure">
              <a:extLst>
                <a:ext uri="{FF2B5EF4-FFF2-40B4-BE49-F238E27FC236}">
                  <a16:creationId xmlns:a16="http://schemas.microsoft.com/office/drawing/2014/main" id="{9A13D854-F70A-417A-4CD0-9EB5AED542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Whitespace measure">
              <a:extLst>
                <a:ext uri="{FF2B5EF4-FFF2-40B4-BE49-F238E27FC236}">
                  <a16:creationId xmlns:a16="http://schemas.microsoft.com/office/drawing/2014/main" id="{04A4F644-019B-0FAF-2AE3-B568F2B920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Five column measure">
              <a:extLst>
                <a:ext uri="{FF2B5EF4-FFF2-40B4-BE49-F238E27FC236}">
                  <a16:creationId xmlns:a16="http://schemas.microsoft.com/office/drawing/2014/main" id="{3A737960-5A84-5CD7-FC9A-238D620E0DF3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" name="Rectangle 5">
                <a:extLst>
                  <a:ext uri="{FF2B5EF4-FFF2-40B4-BE49-F238E27FC236}">
                    <a16:creationId xmlns:a16="http://schemas.microsoft.com/office/drawing/2014/main" id="{3DC57308-E9F4-A0F5-6ACE-24C4E3E780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7">
                <a:extLst>
                  <a:ext uri="{FF2B5EF4-FFF2-40B4-BE49-F238E27FC236}">
                    <a16:creationId xmlns:a16="http://schemas.microsoft.com/office/drawing/2014/main" id="{64B2C000-D5FB-3682-41F9-9506F4B2C2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9">
                <a:extLst>
                  <a:ext uri="{FF2B5EF4-FFF2-40B4-BE49-F238E27FC236}">
                    <a16:creationId xmlns:a16="http://schemas.microsoft.com/office/drawing/2014/main" id="{08351EB6-C280-4511-F2B4-6AB0EAA798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1">
                <a:extLst>
                  <a:ext uri="{FF2B5EF4-FFF2-40B4-BE49-F238E27FC236}">
                    <a16:creationId xmlns:a16="http://schemas.microsoft.com/office/drawing/2014/main" id="{3C49592A-4DE6-0160-EB8C-12DCF72AA3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13">
                <a:extLst>
                  <a:ext uri="{FF2B5EF4-FFF2-40B4-BE49-F238E27FC236}">
                    <a16:creationId xmlns:a16="http://schemas.microsoft.com/office/drawing/2014/main" id="{BE66417D-6ED1-CCF6-7A47-A76F878F69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" name="Live area">
              <a:extLst>
                <a:ext uri="{FF2B5EF4-FFF2-40B4-BE49-F238E27FC236}">
                  <a16:creationId xmlns:a16="http://schemas.microsoft.com/office/drawing/2014/main" id="{E8C58589-B7AE-D32D-B914-2A79314706DB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2AA1175F-170B-E5CA-A896-6445A5E3E4D8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7283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3D5F40C-ED61-D6FA-7D6A-D256341477C4}"/>
              </a:ext>
            </a:extLst>
          </p:cNvPr>
          <p:cNvGrpSpPr/>
          <p:nvPr userDrawn="1">
            <p:custDataLst>
              <p:tags r:id="rId4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" name="No fly zone">
              <a:extLst>
                <a:ext uri="{FF2B5EF4-FFF2-40B4-BE49-F238E27FC236}">
                  <a16:creationId xmlns:a16="http://schemas.microsoft.com/office/drawing/2014/main" id="{EA3842CF-C1BF-26D5-0224-52BBDFA2921E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6" name="Baselines / anchors">
              <a:extLst>
                <a:ext uri="{FF2B5EF4-FFF2-40B4-BE49-F238E27FC236}">
                  <a16:creationId xmlns:a16="http://schemas.microsoft.com/office/drawing/2014/main" id="{4E16F030-0B16-2EC7-E8A6-DC7F17684C34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44C25E38-4FBA-FCDE-36B3-967D3799A1C8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870DB9B9-D4C3-7964-2C5B-7717B7AA4845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668BE830-CB12-0CB4-7F08-190DF5EE28DC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8F1684A3-A493-B242-399D-15FEE3B6FEF6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2FAAD908-0260-3288-A43C-89934129E981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ADE5C1D8-C788-2C85-133D-3071E96B5946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5C73B7E9-44CC-DD8B-FA90-661169C4F327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B6681EC7-DEAC-E69A-257D-BB47FEF5D6D9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93F48EEF-BA7F-4E26-EEC7-29F9AB215B22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5C04F411-CF4F-C3D1-40C2-06EC7E4BA0BE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A7F67BC6-C7F7-6EA9-67B2-C5C439415009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43E16170-CE1C-7265-4A66-B54282200133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DA77CDA9-8439-A719-2652-4BDEF584FC88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0391410E-EDBE-9DFC-A9C1-083AB6649D3C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EEC3FE11-9BDB-5CF9-B094-CACD8EE46721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7DEB145B-369C-6C60-F530-7DE9F6A7AC7C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47CF2BA8-E958-98C4-25FD-F09703BDC3D2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EDA45BE5-BE14-5E1D-C555-98BB734B151A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808D09F3-FFD1-F458-6229-AEE6523136AC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05F17AF6-E545-E41F-2B3B-05F3A1A31560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utter space">
              <a:extLst>
                <a:ext uri="{FF2B5EF4-FFF2-40B4-BE49-F238E27FC236}">
                  <a16:creationId xmlns:a16="http://schemas.microsoft.com/office/drawing/2014/main" id="{4EACEEAA-91C8-668A-984C-227B792A658D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3" name="Rectangle 34">
                <a:extLst>
                  <a:ext uri="{FF2B5EF4-FFF2-40B4-BE49-F238E27FC236}">
                    <a16:creationId xmlns:a16="http://schemas.microsoft.com/office/drawing/2014/main" id="{F15BBB7E-0900-4F0E-D977-BE2E49E5DC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5">
                <a:extLst>
                  <a:ext uri="{FF2B5EF4-FFF2-40B4-BE49-F238E27FC236}">
                    <a16:creationId xmlns:a16="http://schemas.microsoft.com/office/drawing/2014/main" id="{3D706D6B-47A4-58A9-B22B-6ADB91F7E8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6">
                <a:extLst>
                  <a:ext uri="{FF2B5EF4-FFF2-40B4-BE49-F238E27FC236}">
                    <a16:creationId xmlns:a16="http://schemas.microsoft.com/office/drawing/2014/main" id="{072E094F-71A2-F8EC-E2EC-D11BE48BFE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7">
                <a:extLst>
                  <a:ext uri="{FF2B5EF4-FFF2-40B4-BE49-F238E27FC236}">
                    <a16:creationId xmlns:a16="http://schemas.microsoft.com/office/drawing/2014/main" id="{6C3ACA23-45AF-653B-4CA3-B99DDD86762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8">
                <a:extLst>
                  <a:ext uri="{FF2B5EF4-FFF2-40B4-BE49-F238E27FC236}">
                    <a16:creationId xmlns:a16="http://schemas.microsoft.com/office/drawing/2014/main" id="{79F24650-0982-3BE5-D3C7-E0F35A35A7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39">
                <a:extLst>
                  <a:ext uri="{FF2B5EF4-FFF2-40B4-BE49-F238E27FC236}">
                    <a16:creationId xmlns:a16="http://schemas.microsoft.com/office/drawing/2014/main" id="{08895777-1E42-DAC1-8FDF-94DC9FDAE0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0">
                <a:extLst>
                  <a:ext uri="{FF2B5EF4-FFF2-40B4-BE49-F238E27FC236}">
                    <a16:creationId xmlns:a16="http://schemas.microsoft.com/office/drawing/2014/main" id="{3CA628A8-82F8-9D58-50C9-2F7F0DBAFE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1">
                <a:extLst>
                  <a:ext uri="{FF2B5EF4-FFF2-40B4-BE49-F238E27FC236}">
                    <a16:creationId xmlns:a16="http://schemas.microsoft.com/office/drawing/2014/main" id="{20A6B678-A5F7-8365-F819-EFDC3D95AC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2">
                <a:extLst>
                  <a:ext uri="{FF2B5EF4-FFF2-40B4-BE49-F238E27FC236}">
                    <a16:creationId xmlns:a16="http://schemas.microsoft.com/office/drawing/2014/main" id="{DDC362C4-51DA-1538-F1B6-CD2704DCC8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3">
                <a:extLst>
                  <a:ext uri="{FF2B5EF4-FFF2-40B4-BE49-F238E27FC236}">
                    <a16:creationId xmlns:a16="http://schemas.microsoft.com/office/drawing/2014/main" id="{4E8BF49E-B864-0243-A918-9D3D884D56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44">
                <a:extLst>
                  <a:ext uri="{FF2B5EF4-FFF2-40B4-BE49-F238E27FC236}">
                    <a16:creationId xmlns:a16="http://schemas.microsoft.com/office/drawing/2014/main" id="{FA1C2E28-F93C-4F63-9A95-1A400A43D8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9" name="Slide edges">
              <a:extLst>
                <a:ext uri="{FF2B5EF4-FFF2-40B4-BE49-F238E27FC236}">
                  <a16:creationId xmlns:a16="http://schemas.microsoft.com/office/drawing/2014/main" id="{7CFFE572-7D7E-96DB-8B0A-4DC7DC68D4A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3" name="Footnote measure">
              <a:extLst>
                <a:ext uri="{FF2B5EF4-FFF2-40B4-BE49-F238E27FC236}">
                  <a16:creationId xmlns:a16="http://schemas.microsoft.com/office/drawing/2014/main" id="{8FFD15C3-45B1-2930-EAB6-E69F87961E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Whitespace measure">
              <a:extLst>
                <a:ext uri="{FF2B5EF4-FFF2-40B4-BE49-F238E27FC236}">
                  <a16:creationId xmlns:a16="http://schemas.microsoft.com/office/drawing/2014/main" id="{AE283F6F-7967-8D87-1CD8-4968DB595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5" name="Five column measure">
              <a:extLst>
                <a:ext uri="{FF2B5EF4-FFF2-40B4-BE49-F238E27FC236}">
                  <a16:creationId xmlns:a16="http://schemas.microsoft.com/office/drawing/2014/main" id="{45D37D80-7AD4-0E6B-E7E9-A1DCBCEA3999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8" name="Rectangle 5">
                <a:extLst>
                  <a:ext uri="{FF2B5EF4-FFF2-40B4-BE49-F238E27FC236}">
                    <a16:creationId xmlns:a16="http://schemas.microsoft.com/office/drawing/2014/main" id="{D0EF1F48-4125-6FAB-1B38-256EE8E103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7">
                <a:extLst>
                  <a:ext uri="{FF2B5EF4-FFF2-40B4-BE49-F238E27FC236}">
                    <a16:creationId xmlns:a16="http://schemas.microsoft.com/office/drawing/2014/main" id="{D58BE185-2EF7-2713-B5C3-A228113C28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9">
                <a:extLst>
                  <a:ext uri="{FF2B5EF4-FFF2-40B4-BE49-F238E27FC236}">
                    <a16:creationId xmlns:a16="http://schemas.microsoft.com/office/drawing/2014/main" id="{38B32D7D-96FA-9467-05F1-005ED8D9C6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1">
                <a:extLst>
                  <a:ext uri="{FF2B5EF4-FFF2-40B4-BE49-F238E27FC236}">
                    <a16:creationId xmlns:a16="http://schemas.microsoft.com/office/drawing/2014/main" id="{ACE247FA-48A1-3952-9ECB-BD2FCD2446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13">
                <a:extLst>
                  <a:ext uri="{FF2B5EF4-FFF2-40B4-BE49-F238E27FC236}">
                    <a16:creationId xmlns:a16="http://schemas.microsoft.com/office/drawing/2014/main" id="{ACF86882-2D68-A062-B5F1-E12D4F2902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6" name="Live area">
              <a:extLst>
                <a:ext uri="{FF2B5EF4-FFF2-40B4-BE49-F238E27FC236}">
                  <a16:creationId xmlns:a16="http://schemas.microsoft.com/office/drawing/2014/main" id="{D80260AC-B19E-FD05-791C-06FADD451714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7" name="Footnote example">
              <a:extLst>
                <a:ext uri="{FF2B5EF4-FFF2-40B4-BE49-F238E27FC236}">
                  <a16:creationId xmlns:a16="http://schemas.microsoft.com/office/drawing/2014/main" id="{9260FFEC-5E54-8FA3-9847-D2A8059A3868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6508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619D73F-DA16-2B9C-B6B5-91688C84D146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07A15BDD-BF1A-BA82-14AA-DEEAC10B301E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7611777D-FE6D-3BDD-737C-6B97A4988F78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DED1CDED-94C4-D064-E425-BF2382547193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14CD60D6-509A-F651-8613-C436F29D00AC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B9A836CF-1C98-646A-502A-0B17AD183E2F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30EB1A1C-DE93-D161-06CC-C7CFAD19A892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B747CF86-5678-4B27-8A07-10C26DD9EEBF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EC34C587-5D73-5237-AD3F-261F8CED38D8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F0CC7E65-7313-4C0E-6854-1390EA49C213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7396F031-8AFE-2E80-C958-70E0A928A5C9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7B5CB949-7FDE-058D-6D84-1FDA83961490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8A885F55-4196-AE61-343C-3A0A0C57B428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E6C07E55-6BC0-90C7-7757-A6C1E86E8B27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A1119BFE-8E11-E021-F1BB-61D5C4B6A190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D73C9598-DC80-ACCB-9A86-1BCD91E8281C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104E31B4-3A75-78DE-3900-797B9A891EC4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B58ED909-98DD-C81F-0A2B-0125D693D6E7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E20F3AA8-B941-F167-5CAD-1F6F0ADE1BE0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A3A94335-DFB9-6F1B-00E4-F5AC3494A4EE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C2D443AE-F0E0-93F9-172C-72F124EA4585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95C23D8E-7136-C6A0-2FA6-0E1C13F00F9D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31C6AF24-445D-97A6-1A4B-459FCE2D6B65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14D1E129-E1A9-37E8-21B5-E50B1376EC7F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1" name="Rectangle 34">
                <a:extLst>
                  <a:ext uri="{FF2B5EF4-FFF2-40B4-BE49-F238E27FC236}">
                    <a16:creationId xmlns:a16="http://schemas.microsoft.com/office/drawing/2014/main" id="{578A31DD-917E-C53B-86B9-9530100B77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5">
                <a:extLst>
                  <a:ext uri="{FF2B5EF4-FFF2-40B4-BE49-F238E27FC236}">
                    <a16:creationId xmlns:a16="http://schemas.microsoft.com/office/drawing/2014/main" id="{DAA2DAB2-3EB4-4041-D653-D04880A5D1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6">
                <a:extLst>
                  <a:ext uri="{FF2B5EF4-FFF2-40B4-BE49-F238E27FC236}">
                    <a16:creationId xmlns:a16="http://schemas.microsoft.com/office/drawing/2014/main" id="{6F4AB3DA-16F1-2EF8-6B22-941334EA6D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7">
                <a:extLst>
                  <a:ext uri="{FF2B5EF4-FFF2-40B4-BE49-F238E27FC236}">
                    <a16:creationId xmlns:a16="http://schemas.microsoft.com/office/drawing/2014/main" id="{BC96AFB9-1870-D957-378C-BEA821FCF0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8">
                <a:extLst>
                  <a:ext uri="{FF2B5EF4-FFF2-40B4-BE49-F238E27FC236}">
                    <a16:creationId xmlns:a16="http://schemas.microsoft.com/office/drawing/2014/main" id="{84ABFDCA-5E87-690E-294A-DFC5FCE300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9">
                <a:extLst>
                  <a:ext uri="{FF2B5EF4-FFF2-40B4-BE49-F238E27FC236}">
                    <a16:creationId xmlns:a16="http://schemas.microsoft.com/office/drawing/2014/main" id="{8A602FEE-BA17-2A37-EDA3-E948BAE043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0">
                <a:extLst>
                  <a:ext uri="{FF2B5EF4-FFF2-40B4-BE49-F238E27FC236}">
                    <a16:creationId xmlns:a16="http://schemas.microsoft.com/office/drawing/2014/main" id="{6AF8ED74-BE25-0352-AD97-201E506069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1">
                <a:extLst>
                  <a:ext uri="{FF2B5EF4-FFF2-40B4-BE49-F238E27FC236}">
                    <a16:creationId xmlns:a16="http://schemas.microsoft.com/office/drawing/2014/main" id="{495BCAA6-B2F0-92B7-BD05-CC34876935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2">
                <a:extLst>
                  <a:ext uri="{FF2B5EF4-FFF2-40B4-BE49-F238E27FC236}">
                    <a16:creationId xmlns:a16="http://schemas.microsoft.com/office/drawing/2014/main" id="{5036B075-26FD-B45E-C013-9868238579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3">
                <a:extLst>
                  <a:ext uri="{FF2B5EF4-FFF2-40B4-BE49-F238E27FC236}">
                    <a16:creationId xmlns:a16="http://schemas.microsoft.com/office/drawing/2014/main" id="{541F932E-8617-7EBD-4765-CDF440472A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4">
                <a:extLst>
                  <a:ext uri="{FF2B5EF4-FFF2-40B4-BE49-F238E27FC236}">
                    <a16:creationId xmlns:a16="http://schemas.microsoft.com/office/drawing/2014/main" id="{82C630EE-69A0-69A1-7AE8-2CF1364800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8" name="Slide edges">
              <a:extLst>
                <a:ext uri="{FF2B5EF4-FFF2-40B4-BE49-F238E27FC236}">
                  <a16:creationId xmlns:a16="http://schemas.microsoft.com/office/drawing/2014/main" id="{C2067DFC-1F1D-65BC-4B55-98FE8DDDA69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:a16="http://schemas.microsoft.com/office/drawing/2014/main" id="{52F47901-6475-F7A1-0090-0092D33239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AD2D94F8-D3AC-461E-0CE0-A2198D4266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6CAC4F90-33B5-7210-0102-4D9C1EFD0D19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6" name="Rectangle 5">
                <a:extLst>
                  <a:ext uri="{FF2B5EF4-FFF2-40B4-BE49-F238E27FC236}">
                    <a16:creationId xmlns:a16="http://schemas.microsoft.com/office/drawing/2014/main" id="{C39EFDDA-52A2-7691-11D9-586132983B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7">
                <a:extLst>
                  <a:ext uri="{FF2B5EF4-FFF2-40B4-BE49-F238E27FC236}">
                    <a16:creationId xmlns:a16="http://schemas.microsoft.com/office/drawing/2014/main" id="{D66206CA-9FE5-B05E-52F5-6C8C3004B1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9">
                <a:extLst>
                  <a:ext uri="{FF2B5EF4-FFF2-40B4-BE49-F238E27FC236}">
                    <a16:creationId xmlns:a16="http://schemas.microsoft.com/office/drawing/2014/main" id="{D7AFBB1B-FE05-9205-E463-074553FBAF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1">
                <a:extLst>
                  <a:ext uri="{FF2B5EF4-FFF2-40B4-BE49-F238E27FC236}">
                    <a16:creationId xmlns:a16="http://schemas.microsoft.com/office/drawing/2014/main" id="{A9FA2B92-3938-F941-BB96-9DF2442F4D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3">
                <a:extLst>
                  <a:ext uri="{FF2B5EF4-FFF2-40B4-BE49-F238E27FC236}">
                    <a16:creationId xmlns:a16="http://schemas.microsoft.com/office/drawing/2014/main" id="{215CD7E1-37CE-BDF3-CE1F-B62B31DD7E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4" name="Live area">
              <a:extLst>
                <a:ext uri="{FF2B5EF4-FFF2-40B4-BE49-F238E27FC236}">
                  <a16:creationId xmlns:a16="http://schemas.microsoft.com/office/drawing/2014/main" id="{7FF3D0E4-69ED-BD14-0F36-0E201186B4E6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5" name="Footnote example">
              <a:extLst>
                <a:ext uri="{FF2B5EF4-FFF2-40B4-BE49-F238E27FC236}">
                  <a16:creationId xmlns:a16="http://schemas.microsoft.com/office/drawing/2014/main" id="{6B287FE8-BF24-1143-B14F-356F7C13D27D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07617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9ECE1EAA-B0F7-0AAE-3430-54BB820FD845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1F5B2417-9B7D-6FD2-AB39-52A39E6D1C0D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E6E66A79-F549-85F0-8D3A-E78847570FC4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9A18E979-69DE-68FC-374B-BC853AD21C3A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55D72228-BFDA-E62B-DCEC-18EB6FCB7BBA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894838C7-5DA6-CB84-5FD2-4AB67DC3B7B5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FFAAFE0B-9D01-5D70-9FAE-7ACCCC25D0B1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A3D82296-6590-B4C3-2B44-CDC5204802AE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AC772BA1-E3D3-1030-6517-A6956AD38185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18BA0C66-412E-7CE3-FB57-375F33D7BFA0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2649A75A-DF8A-7A0C-89BE-C801970C7803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74D6082F-6A25-63D1-985E-4493E898F132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0C12DE5F-0A65-33F7-7577-FC8D79BCC04D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242B41C5-C134-F2F5-D350-DF6A8B75AAE2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BC5EEC81-9589-587F-F75F-2792BD67BF1F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3139D555-109C-69AA-3123-BA18A75A79A2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E37E0B16-EE28-8459-CC23-CB7203248EC6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E69728D8-B7E8-33EB-6E4B-6B16B848BB38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1447217E-8C3F-5A8E-DD3D-3EA905448910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0E23FFAC-8064-DD5E-A666-C2F844652A58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9158646E-B4D1-8E95-38DA-81FA140AD3CC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B4EFBDBA-5D22-F6CB-80F1-5E7E11041C24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AD6D29A0-8D4A-6985-097D-74C45BD26F9E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E6B56E30-2BA6-E94D-C010-AC3659E74803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1" name="Rectangle 34">
                <a:extLst>
                  <a:ext uri="{FF2B5EF4-FFF2-40B4-BE49-F238E27FC236}">
                    <a16:creationId xmlns:a16="http://schemas.microsoft.com/office/drawing/2014/main" id="{7D23E408-9A28-070C-47BE-FFDE983CDB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5">
                <a:extLst>
                  <a:ext uri="{FF2B5EF4-FFF2-40B4-BE49-F238E27FC236}">
                    <a16:creationId xmlns:a16="http://schemas.microsoft.com/office/drawing/2014/main" id="{B3C9B62D-4FE8-C39E-4248-DF9749D183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6">
                <a:extLst>
                  <a:ext uri="{FF2B5EF4-FFF2-40B4-BE49-F238E27FC236}">
                    <a16:creationId xmlns:a16="http://schemas.microsoft.com/office/drawing/2014/main" id="{E1EC6B2B-BFEE-E243-6406-7706BEE3B8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7">
                <a:extLst>
                  <a:ext uri="{FF2B5EF4-FFF2-40B4-BE49-F238E27FC236}">
                    <a16:creationId xmlns:a16="http://schemas.microsoft.com/office/drawing/2014/main" id="{1657C747-10B4-4696-A524-D6BE1110BF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8">
                <a:extLst>
                  <a:ext uri="{FF2B5EF4-FFF2-40B4-BE49-F238E27FC236}">
                    <a16:creationId xmlns:a16="http://schemas.microsoft.com/office/drawing/2014/main" id="{48231C3E-3825-00D9-31A9-FBE1D86AF7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9">
                <a:extLst>
                  <a:ext uri="{FF2B5EF4-FFF2-40B4-BE49-F238E27FC236}">
                    <a16:creationId xmlns:a16="http://schemas.microsoft.com/office/drawing/2014/main" id="{9A28AA7C-6F59-B2E2-870A-C54E10B730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0">
                <a:extLst>
                  <a:ext uri="{FF2B5EF4-FFF2-40B4-BE49-F238E27FC236}">
                    <a16:creationId xmlns:a16="http://schemas.microsoft.com/office/drawing/2014/main" id="{5842E732-ECA6-2809-FCC2-5D1E4450CE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1">
                <a:extLst>
                  <a:ext uri="{FF2B5EF4-FFF2-40B4-BE49-F238E27FC236}">
                    <a16:creationId xmlns:a16="http://schemas.microsoft.com/office/drawing/2014/main" id="{ED313339-6AB1-A146-AE53-4E4E05F361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2">
                <a:extLst>
                  <a:ext uri="{FF2B5EF4-FFF2-40B4-BE49-F238E27FC236}">
                    <a16:creationId xmlns:a16="http://schemas.microsoft.com/office/drawing/2014/main" id="{4CF4F919-C9ED-262E-97B2-228AD6AF40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3">
                <a:extLst>
                  <a:ext uri="{FF2B5EF4-FFF2-40B4-BE49-F238E27FC236}">
                    <a16:creationId xmlns:a16="http://schemas.microsoft.com/office/drawing/2014/main" id="{412392AC-61E4-0010-D05F-A7318E4F78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4">
                <a:extLst>
                  <a:ext uri="{FF2B5EF4-FFF2-40B4-BE49-F238E27FC236}">
                    <a16:creationId xmlns:a16="http://schemas.microsoft.com/office/drawing/2014/main" id="{7D715F77-6977-0867-F3B3-034B25D2EC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8" name="Slide edges">
              <a:extLst>
                <a:ext uri="{FF2B5EF4-FFF2-40B4-BE49-F238E27FC236}">
                  <a16:creationId xmlns:a16="http://schemas.microsoft.com/office/drawing/2014/main" id="{7166CA0A-77F7-4B35-0173-E10197C390D2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:a16="http://schemas.microsoft.com/office/drawing/2014/main" id="{6F2D8137-63FF-D385-8459-76FEDCAEF0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97778AD9-B11C-15F9-F284-ED9E6771FE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D6B4EE59-2B56-DABE-935B-2B6C49730A1C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6" name="Rectangle 5">
                <a:extLst>
                  <a:ext uri="{FF2B5EF4-FFF2-40B4-BE49-F238E27FC236}">
                    <a16:creationId xmlns:a16="http://schemas.microsoft.com/office/drawing/2014/main" id="{28F1EFB9-29CA-F305-D4EA-02AD7C2B1B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7">
                <a:extLst>
                  <a:ext uri="{FF2B5EF4-FFF2-40B4-BE49-F238E27FC236}">
                    <a16:creationId xmlns:a16="http://schemas.microsoft.com/office/drawing/2014/main" id="{23C558A4-E693-D782-87D9-8433F03B75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9">
                <a:extLst>
                  <a:ext uri="{FF2B5EF4-FFF2-40B4-BE49-F238E27FC236}">
                    <a16:creationId xmlns:a16="http://schemas.microsoft.com/office/drawing/2014/main" id="{3DD31AF9-0C27-8453-4DDA-063BBC9A29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1">
                <a:extLst>
                  <a:ext uri="{FF2B5EF4-FFF2-40B4-BE49-F238E27FC236}">
                    <a16:creationId xmlns:a16="http://schemas.microsoft.com/office/drawing/2014/main" id="{A8CAC832-D766-0071-E3AE-9A44960789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3">
                <a:extLst>
                  <a:ext uri="{FF2B5EF4-FFF2-40B4-BE49-F238E27FC236}">
                    <a16:creationId xmlns:a16="http://schemas.microsoft.com/office/drawing/2014/main" id="{5577CD3E-34AD-29DB-B383-C86C314F3F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4" name="Live area">
              <a:extLst>
                <a:ext uri="{FF2B5EF4-FFF2-40B4-BE49-F238E27FC236}">
                  <a16:creationId xmlns:a16="http://schemas.microsoft.com/office/drawing/2014/main" id="{54A7CE25-897A-01DB-5071-320D1E6977D9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5" name="Footnote example">
              <a:extLst>
                <a:ext uri="{FF2B5EF4-FFF2-40B4-BE49-F238E27FC236}">
                  <a16:creationId xmlns:a16="http://schemas.microsoft.com/office/drawing/2014/main" id="{21A24F32-7283-A698-8584-1A7211E75DEB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98055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2976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A5E648B-8B89-EACF-5088-AFC9A978CE5D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2CD03799-0E1C-7F2A-8BC7-8F341073A5CB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A5935F6B-6F54-066F-3DC7-03FB1B6F3700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31AEF94D-4319-9127-C72D-891390A39657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F2E75B09-5DF9-F30F-181E-7B8E8C2B1DB1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48C1592A-8668-8F32-E37D-557F23CEFC69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26C55AD0-5658-7282-67B9-8ABD6C9C1F6F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A9B66661-5482-0DAE-316B-15137FC10576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FFFD2408-87B1-DBE6-D66C-2BAA2C5AA31F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00F39229-3C26-33AC-AFAC-CE70447D1476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83554501-52A0-4D72-4981-3C2A222E9540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40786F0B-4422-8EF6-FE84-5D8AAE03D6A3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B49DC47A-78AE-7D26-2820-AC93FFB616E3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FA0AAC51-B84E-F5DF-9C4A-052325F51FFA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2E551E4C-DA54-2997-99BC-9739CA6938C8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D9BB4D2F-97FD-D308-99B9-89095DA9350C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58089621-2AD0-14D1-4D78-21C8DA6E18C2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92B64C60-8BD0-C082-AC0E-81AD4F5241FE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9AA069A2-0CDF-A7FC-563B-7EC4CE3F38E1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750FFE2D-37CA-B255-B1DB-F8000ADB4E2B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D40D5253-7B09-6059-DEBC-ED9B1748E1EE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7FC40966-CCB7-D55E-299B-A350227AB77C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5BD9D14D-C4D2-CB9A-883A-D8125C068758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B2D40012-37F9-DD9B-3BD1-061D9A073C5B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2" name="Rectangle 34">
                <a:extLst>
                  <a:ext uri="{FF2B5EF4-FFF2-40B4-BE49-F238E27FC236}">
                    <a16:creationId xmlns:a16="http://schemas.microsoft.com/office/drawing/2014/main" id="{A31F6F53-5DE7-423D-1703-616AA40485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5">
                <a:extLst>
                  <a:ext uri="{FF2B5EF4-FFF2-40B4-BE49-F238E27FC236}">
                    <a16:creationId xmlns:a16="http://schemas.microsoft.com/office/drawing/2014/main" id="{6EC63770-76D3-0077-CC91-EC77D0907D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6">
                <a:extLst>
                  <a:ext uri="{FF2B5EF4-FFF2-40B4-BE49-F238E27FC236}">
                    <a16:creationId xmlns:a16="http://schemas.microsoft.com/office/drawing/2014/main" id="{E796058C-52A2-CB68-DF35-B7D851B3B4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7">
                <a:extLst>
                  <a:ext uri="{FF2B5EF4-FFF2-40B4-BE49-F238E27FC236}">
                    <a16:creationId xmlns:a16="http://schemas.microsoft.com/office/drawing/2014/main" id="{ECAD38B1-B95F-4D75-D6A4-20F7B3A803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8">
                <a:extLst>
                  <a:ext uri="{FF2B5EF4-FFF2-40B4-BE49-F238E27FC236}">
                    <a16:creationId xmlns:a16="http://schemas.microsoft.com/office/drawing/2014/main" id="{ECEC2670-40D1-D702-EA36-0C7596DA6D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9">
                <a:extLst>
                  <a:ext uri="{FF2B5EF4-FFF2-40B4-BE49-F238E27FC236}">
                    <a16:creationId xmlns:a16="http://schemas.microsoft.com/office/drawing/2014/main" id="{CF9381FD-5519-24DD-1F29-A802343AF7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0">
                <a:extLst>
                  <a:ext uri="{FF2B5EF4-FFF2-40B4-BE49-F238E27FC236}">
                    <a16:creationId xmlns:a16="http://schemas.microsoft.com/office/drawing/2014/main" id="{371D8E59-74EA-A416-95EC-1485827D23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1">
                <a:extLst>
                  <a:ext uri="{FF2B5EF4-FFF2-40B4-BE49-F238E27FC236}">
                    <a16:creationId xmlns:a16="http://schemas.microsoft.com/office/drawing/2014/main" id="{B478C995-D1C7-374B-5B7E-31441B5DB1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2">
                <a:extLst>
                  <a:ext uri="{FF2B5EF4-FFF2-40B4-BE49-F238E27FC236}">
                    <a16:creationId xmlns:a16="http://schemas.microsoft.com/office/drawing/2014/main" id="{289C7F5D-0E35-CCBD-D002-8EC9983B32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3">
                <a:extLst>
                  <a:ext uri="{FF2B5EF4-FFF2-40B4-BE49-F238E27FC236}">
                    <a16:creationId xmlns:a16="http://schemas.microsoft.com/office/drawing/2014/main" id="{C9A23F18-A1B7-9D8C-BFFF-690067C574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4">
                <a:extLst>
                  <a:ext uri="{FF2B5EF4-FFF2-40B4-BE49-F238E27FC236}">
                    <a16:creationId xmlns:a16="http://schemas.microsoft.com/office/drawing/2014/main" id="{5C325DBB-5C01-6029-810E-76B0E4BE64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C270DAA0-0D7E-ABBF-4E0B-BAD5C6531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" name="Footnote measure">
              <a:extLst>
                <a:ext uri="{FF2B5EF4-FFF2-40B4-BE49-F238E27FC236}">
                  <a16:creationId xmlns:a16="http://schemas.microsoft.com/office/drawing/2014/main" id="{7B787A4C-86AD-8E6C-1271-EE04B8B235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Whitespace measure">
              <a:extLst>
                <a:ext uri="{FF2B5EF4-FFF2-40B4-BE49-F238E27FC236}">
                  <a16:creationId xmlns:a16="http://schemas.microsoft.com/office/drawing/2014/main" id="{28F8BFF9-4166-FABB-30E0-46976EA15F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Five column measure">
              <a:extLst>
                <a:ext uri="{FF2B5EF4-FFF2-40B4-BE49-F238E27FC236}">
                  <a16:creationId xmlns:a16="http://schemas.microsoft.com/office/drawing/2014/main" id="{2B63FB0A-8CEC-5272-BACD-9FF7B5E8EBAB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6" name="Rectangle 5">
                <a:extLst>
                  <a:ext uri="{FF2B5EF4-FFF2-40B4-BE49-F238E27FC236}">
                    <a16:creationId xmlns:a16="http://schemas.microsoft.com/office/drawing/2014/main" id="{4F9F322B-4623-F2FF-0E68-7B0EE99537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7">
                <a:extLst>
                  <a:ext uri="{FF2B5EF4-FFF2-40B4-BE49-F238E27FC236}">
                    <a16:creationId xmlns:a16="http://schemas.microsoft.com/office/drawing/2014/main" id="{E9934485-904B-EB4A-AED0-B70D1193EC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9">
                <a:extLst>
                  <a:ext uri="{FF2B5EF4-FFF2-40B4-BE49-F238E27FC236}">
                    <a16:creationId xmlns:a16="http://schemas.microsoft.com/office/drawing/2014/main" id="{D8E6B785-183B-C2DC-F882-34ACB576CF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1">
                <a:extLst>
                  <a:ext uri="{FF2B5EF4-FFF2-40B4-BE49-F238E27FC236}">
                    <a16:creationId xmlns:a16="http://schemas.microsoft.com/office/drawing/2014/main" id="{C325797C-DB4C-4BD8-6E22-DCBA618993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3">
                <a:extLst>
                  <a:ext uri="{FF2B5EF4-FFF2-40B4-BE49-F238E27FC236}">
                    <a16:creationId xmlns:a16="http://schemas.microsoft.com/office/drawing/2014/main" id="{DBBFAF40-64C2-A125-F830-0D5926AC81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" name="Live area">
              <a:extLst>
                <a:ext uri="{FF2B5EF4-FFF2-40B4-BE49-F238E27FC236}">
                  <a16:creationId xmlns:a16="http://schemas.microsoft.com/office/drawing/2014/main" id="{6E9EB3CA-ABAF-8C7B-FD99-01AECA30A4A9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487C15C9-9B92-88A0-3D7E-6042E99AE846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6433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/>
              <a:t>Agenda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431FD7F-9834-7491-C04A-548587D590BA}"/>
              </a:ext>
            </a:extLst>
          </p:cNvPr>
          <p:cNvGrpSpPr/>
          <p:nvPr userDrawn="1">
            <p:custDataLst>
              <p:tags r:id="rId4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49B39895-9397-595C-2820-FB5368A4D18E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91034186-4D8B-4999-400D-09095F7E7F1C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B1A1B5BD-6BE8-F066-379A-204C386949E7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9161DE51-8BAF-F4B0-E5F8-669ACCA61109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402942D3-EAD0-0701-DA36-4989567C1F16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C52DF845-584B-4F95-667C-FB1A38D01764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22C2A940-35A7-67E9-2EA3-8F08D26CC2D0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EA302ED8-2634-D0C9-149A-A6DE633B5107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F0C21D84-B689-3D5E-ED41-AE784A455024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3883EA1C-198E-60C2-5FA8-C9EEA4F0B82D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2130FA00-033C-2DF7-B57D-267B8E61915E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B77EEA36-C0AE-5F04-44CA-30EE02861356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D6D43854-6143-53FF-2F56-8ACC0E39C906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CF46FEF2-9D58-557B-1B7A-F149A0B05B4C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E178DF1B-C2EC-BA14-FC8F-FE808C9EB736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BEB6454C-E355-824F-0405-61A264586CBC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B5E8EBB3-AA39-4126-7D67-57BCA69AE6F3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9F307C5A-8FAD-6BE0-EB57-EA7F49333D10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94C380CC-26A6-C0B7-26E7-61D7158F4106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A3BD84C6-A018-1960-0D9A-37C4D5DCE040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B9E8778D-47AE-C0B5-7E11-4898462BB7B0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FFEAAA73-A5AA-4005-3293-967F69AE7F46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E903ECB3-BBAA-8602-2C7A-786D8F26AE58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2" name="Rectangle 34">
                <a:extLst>
                  <a:ext uri="{FF2B5EF4-FFF2-40B4-BE49-F238E27FC236}">
                    <a16:creationId xmlns:a16="http://schemas.microsoft.com/office/drawing/2014/main" id="{2839FFEE-E54E-6EB9-AC00-FE80E635F9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5">
                <a:extLst>
                  <a:ext uri="{FF2B5EF4-FFF2-40B4-BE49-F238E27FC236}">
                    <a16:creationId xmlns:a16="http://schemas.microsoft.com/office/drawing/2014/main" id="{F64073E1-7378-EC64-E0B1-81257A8D0D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6">
                <a:extLst>
                  <a:ext uri="{FF2B5EF4-FFF2-40B4-BE49-F238E27FC236}">
                    <a16:creationId xmlns:a16="http://schemas.microsoft.com/office/drawing/2014/main" id="{C4CA410C-FF1D-BEA9-CAB7-D2BB9733FE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7">
                <a:extLst>
                  <a:ext uri="{FF2B5EF4-FFF2-40B4-BE49-F238E27FC236}">
                    <a16:creationId xmlns:a16="http://schemas.microsoft.com/office/drawing/2014/main" id="{83199E67-A29F-CED6-9C41-C927F5CEDF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8">
                <a:extLst>
                  <a:ext uri="{FF2B5EF4-FFF2-40B4-BE49-F238E27FC236}">
                    <a16:creationId xmlns:a16="http://schemas.microsoft.com/office/drawing/2014/main" id="{5C3F8703-AE2F-E9D2-EA12-096D6E27AB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9">
                <a:extLst>
                  <a:ext uri="{FF2B5EF4-FFF2-40B4-BE49-F238E27FC236}">
                    <a16:creationId xmlns:a16="http://schemas.microsoft.com/office/drawing/2014/main" id="{187F41A3-0323-E25A-C614-E205E89F18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0">
                <a:extLst>
                  <a:ext uri="{FF2B5EF4-FFF2-40B4-BE49-F238E27FC236}">
                    <a16:creationId xmlns:a16="http://schemas.microsoft.com/office/drawing/2014/main" id="{C822EAB2-27C5-05ED-8C5A-710FDC02C2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1">
                <a:extLst>
                  <a:ext uri="{FF2B5EF4-FFF2-40B4-BE49-F238E27FC236}">
                    <a16:creationId xmlns:a16="http://schemas.microsoft.com/office/drawing/2014/main" id="{0038416F-06B5-0A04-8FDF-4541B44EA8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2">
                <a:extLst>
                  <a:ext uri="{FF2B5EF4-FFF2-40B4-BE49-F238E27FC236}">
                    <a16:creationId xmlns:a16="http://schemas.microsoft.com/office/drawing/2014/main" id="{93688F7F-5F2F-F55F-6056-6E5EB2792D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3">
                <a:extLst>
                  <a:ext uri="{FF2B5EF4-FFF2-40B4-BE49-F238E27FC236}">
                    <a16:creationId xmlns:a16="http://schemas.microsoft.com/office/drawing/2014/main" id="{354F8EB7-AF86-EE81-652F-187BB3E04B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4">
                <a:extLst>
                  <a:ext uri="{FF2B5EF4-FFF2-40B4-BE49-F238E27FC236}">
                    <a16:creationId xmlns:a16="http://schemas.microsoft.com/office/drawing/2014/main" id="{22F22681-75BD-4371-1FBA-B9E062805B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BAE755AB-A53D-3CB7-113E-691D4FA61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2" name="Footnote measure">
              <a:extLst>
                <a:ext uri="{FF2B5EF4-FFF2-40B4-BE49-F238E27FC236}">
                  <a16:creationId xmlns:a16="http://schemas.microsoft.com/office/drawing/2014/main" id="{EA28CAE2-E2F5-EF14-CF1D-621C8E802E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Whitespace measure">
              <a:extLst>
                <a:ext uri="{FF2B5EF4-FFF2-40B4-BE49-F238E27FC236}">
                  <a16:creationId xmlns:a16="http://schemas.microsoft.com/office/drawing/2014/main" id="{631006A7-7114-C0E0-9AC0-A38B89FB78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4" name="Five column measure">
              <a:extLst>
                <a:ext uri="{FF2B5EF4-FFF2-40B4-BE49-F238E27FC236}">
                  <a16:creationId xmlns:a16="http://schemas.microsoft.com/office/drawing/2014/main" id="{574AA60B-FB50-24F9-3701-B86C5AB7EF30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7" name="Rectangle 5">
                <a:extLst>
                  <a:ext uri="{FF2B5EF4-FFF2-40B4-BE49-F238E27FC236}">
                    <a16:creationId xmlns:a16="http://schemas.microsoft.com/office/drawing/2014/main" id="{4263BB75-A88B-0C0B-B720-8A52E97F5B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7">
                <a:extLst>
                  <a:ext uri="{FF2B5EF4-FFF2-40B4-BE49-F238E27FC236}">
                    <a16:creationId xmlns:a16="http://schemas.microsoft.com/office/drawing/2014/main" id="{524256E5-557D-38B7-422D-91F199CF81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9">
                <a:extLst>
                  <a:ext uri="{FF2B5EF4-FFF2-40B4-BE49-F238E27FC236}">
                    <a16:creationId xmlns:a16="http://schemas.microsoft.com/office/drawing/2014/main" id="{36F97688-768F-9D42-8685-1EE17C769B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1">
                <a:extLst>
                  <a:ext uri="{FF2B5EF4-FFF2-40B4-BE49-F238E27FC236}">
                    <a16:creationId xmlns:a16="http://schemas.microsoft.com/office/drawing/2014/main" id="{9D50FA9F-8564-BA76-1457-00360C3C5D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3">
                <a:extLst>
                  <a:ext uri="{FF2B5EF4-FFF2-40B4-BE49-F238E27FC236}">
                    <a16:creationId xmlns:a16="http://schemas.microsoft.com/office/drawing/2014/main" id="{CAF146F4-6F2F-F527-E679-0C6BA5C69F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5" name="Live area">
              <a:extLst>
                <a:ext uri="{FF2B5EF4-FFF2-40B4-BE49-F238E27FC236}">
                  <a16:creationId xmlns:a16="http://schemas.microsoft.com/office/drawing/2014/main" id="{0E6A5722-9499-EE8A-C3E1-AF9A25FEA9E0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6" name="Footnote example">
              <a:extLst>
                <a:ext uri="{FF2B5EF4-FFF2-40B4-BE49-F238E27FC236}">
                  <a16:creationId xmlns:a16="http://schemas.microsoft.com/office/drawing/2014/main" id="{3BC3A75E-09EA-A041-7D93-5209E5EE3DBA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70458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488628E-9E0D-2791-DD9D-25A6B392C860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8390E4AA-566B-8668-F933-510183C8B0DD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27061812-EADB-AEA7-EE71-F93C6A8824FB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5C2B0180-C113-226A-0701-098004416BE3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1ABA7BE9-C5CA-2A97-AAE2-8A1A1008221A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25D5F45A-5DF3-F155-8504-38DD418D523C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67AB3DC4-55E1-D80B-12D3-7638627E09CC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2076B521-0AA6-665A-C6C8-9F4957FF8875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E8A17AC5-F700-9AC6-5036-F8887A31BF26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9A5A1020-9732-6010-736F-BCB43445DED5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2B877061-8357-CA84-ABC0-308D56A7B522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563B14E6-2F1B-7719-39A4-4084D218E37A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EF44065F-63E2-51FE-8128-0A28C67F21AC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09032F50-A65F-99EE-357D-001D5A102670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5D981B41-C535-9E55-683B-12D744B5A497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DE59772E-C3B6-3CEB-8BDC-994336D099EB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7CDB987B-44C7-397E-4D6F-DF417B6936BA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DEBD349F-CC3E-8CFB-8359-AF08221255E6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4E1336DA-D568-8ACA-05DD-056C9003E8FE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C9C296CC-8B67-64BA-BBC2-17750FD9608E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624D2B6A-3AC2-17C1-C70D-1F750A994D22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377FCF77-ADA6-DE26-2CC2-376C92955952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4638AD81-4D48-3442-AB6B-E3DD4CD68D9D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B0558E0D-065D-A787-A055-3F3417EF3876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0" name="Rectangle 34">
                <a:extLst>
                  <a:ext uri="{FF2B5EF4-FFF2-40B4-BE49-F238E27FC236}">
                    <a16:creationId xmlns:a16="http://schemas.microsoft.com/office/drawing/2014/main" id="{AF4585C4-FC6F-EC81-6344-9F30937B59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35">
                <a:extLst>
                  <a:ext uri="{FF2B5EF4-FFF2-40B4-BE49-F238E27FC236}">
                    <a16:creationId xmlns:a16="http://schemas.microsoft.com/office/drawing/2014/main" id="{6FC44A66-3CFD-8BB3-FA54-6A91D78FC7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6">
                <a:extLst>
                  <a:ext uri="{FF2B5EF4-FFF2-40B4-BE49-F238E27FC236}">
                    <a16:creationId xmlns:a16="http://schemas.microsoft.com/office/drawing/2014/main" id="{D01CE268-E1E6-981F-5E80-0982652308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7">
                <a:extLst>
                  <a:ext uri="{FF2B5EF4-FFF2-40B4-BE49-F238E27FC236}">
                    <a16:creationId xmlns:a16="http://schemas.microsoft.com/office/drawing/2014/main" id="{B843CC5F-39E8-7BF3-682A-C4DF464371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8">
                <a:extLst>
                  <a:ext uri="{FF2B5EF4-FFF2-40B4-BE49-F238E27FC236}">
                    <a16:creationId xmlns:a16="http://schemas.microsoft.com/office/drawing/2014/main" id="{0F505366-89EA-249E-C104-6FD1A75949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9">
                <a:extLst>
                  <a:ext uri="{FF2B5EF4-FFF2-40B4-BE49-F238E27FC236}">
                    <a16:creationId xmlns:a16="http://schemas.microsoft.com/office/drawing/2014/main" id="{34A46998-5A69-EA75-038A-C055B8BB69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40">
                <a:extLst>
                  <a:ext uri="{FF2B5EF4-FFF2-40B4-BE49-F238E27FC236}">
                    <a16:creationId xmlns:a16="http://schemas.microsoft.com/office/drawing/2014/main" id="{BC44E88E-B553-6420-850F-0014451DA9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1">
                <a:extLst>
                  <a:ext uri="{FF2B5EF4-FFF2-40B4-BE49-F238E27FC236}">
                    <a16:creationId xmlns:a16="http://schemas.microsoft.com/office/drawing/2014/main" id="{D578DE77-F8E1-E57E-7E5B-79110572BC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2">
                <a:extLst>
                  <a:ext uri="{FF2B5EF4-FFF2-40B4-BE49-F238E27FC236}">
                    <a16:creationId xmlns:a16="http://schemas.microsoft.com/office/drawing/2014/main" id="{C5AB71E6-BC1B-4D14-87E3-8F7065E12D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3">
                <a:extLst>
                  <a:ext uri="{FF2B5EF4-FFF2-40B4-BE49-F238E27FC236}">
                    <a16:creationId xmlns:a16="http://schemas.microsoft.com/office/drawing/2014/main" id="{15674C48-8D5A-8556-2FF1-16EA53FD89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4">
                <a:extLst>
                  <a:ext uri="{FF2B5EF4-FFF2-40B4-BE49-F238E27FC236}">
                    <a16:creationId xmlns:a16="http://schemas.microsoft.com/office/drawing/2014/main" id="{90446AC6-5FC7-FACF-CA2D-B3567E96FB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73DAB3D8-E26E-6596-EAB4-023112662B9E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:a16="http://schemas.microsoft.com/office/drawing/2014/main" id="{CE7EED1B-9A5B-C7C2-3F06-E477ADDB65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74603621-9279-D8DF-9AF3-5D0F34E55A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D4FF0087-F0A2-04AD-DB9D-62864DEF7699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" name="Rectangle 5">
                <a:extLst>
                  <a:ext uri="{FF2B5EF4-FFF2-40B4-BE49-F238E27FC236}">
                    <a16:creationId xmlns:a16="http://schemas.microsoft.com/office/drawing/2014/main" id="{2D65DA31-87C9-6833-00F0-1D775F267D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7">
                <a:extLst>
                  <a:ext uri="{FF2B5EF4-FFF2-40B4-BE49-F238E27FC236}">
                    <a16:creationId xmlns:a16="http://schemas.microsoft.com/office/drawing/2014/main" id="{25C27F97-8925-18FC-4E63-7DDB38BE50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9">
                <a:extLst>
                  <a:ext uri="{FF2B5EF4-FFF2-40B4-BE49-F238E27FC236}">
                    <a16:creationId xmlns:a16="http://schemas.microsoft.com/office/drawing/2014/main" id="{55EB30F7-1230-50FE-6FBB-40D66CC6B7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11">
                <a:extLst>
                  <a:ext uri="{FF2B5EF4-FFF2-40B4-BE49-F238E27FC236}">
                    <a16:creationId xmlns:a16="http://schemas.microsoft.com/office/drawing/2014/main" id="{C72C9561-F043-390C-398A-3717207F57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3">
                <a:extLst>
                  <a:ext uri="{FF2B5EF4-FFF2-40B4-BE49-F238E27FC236}">
                    <a16:creationId xmlns:a16="http://schemas.microsoft.com/office/drawing/2014/main" id="{665BC7DC-119A-1462-6253-CF6090E758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3" name="Live area">
              <a:extLst>
                <a:ext uri="{FF2B5EF4-FFF2-40B4-BE49-F238E27FC236}">
                  <a16:creationId xmlns:a16="http://schemas.microsoft.com/office/drawing/2014/main" id="{174D5040-D9AB-26CF-54C9-EA1690FB4623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AB98436C-DE01-E249-18F1-5406CC162499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094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3B902D93-4FBB-9A8B-EC60-7EDC59A9C095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1BA19D3F-9D27-6E52-84C8-B3E3D2441B51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BE9297C4-DB75-99CC-4D15-BB8B80FCB376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7D29E59-05B4-562E-1262-DCC33C1FFBA5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C74751CE-D056-C512-54D0-35ED4EF91F66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6355A479-E48F-FBF9-50C3-D40FA73D88BC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1FC773A3-B8AD-167E-BB1B-AE1AD91BDCE2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CD064AC6-8043-052C-AABB-85A563AB9FB0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734ECC27-0F65-E2B6-F448-3BA1281A93C5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11A2AA5D-8C0F-AD72-BDA4-6E44BBFE20D4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619E6A80-BFC8-0682-96FF-BFD27E1D5E62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AFFDD3DA-7168-D227-7294-029094E38EE4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E46CB2E1-070B-DBB6-CF54-0DB579D2F46B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29F71137-5B96-6FA4-F32C-CFA6EBEA4FC9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81F273DB-A90D-D3B4-338F-D670296D9031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C938B323-8D84-BB26-97F3-E96FB8FC978E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CCFF0FE8-E671-C6A1-455C-F45D5E625AC9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95767370-C107-8CBC-954E-18A62CB8424B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375E5B57-9E3E-6234-6C61-BA1580D94116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678BD004-D1CA-DD6F-5B03-C59818002846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987FD7BE-BA1C-AA30-2E12-0E96626512E6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86CAD463-60F1-370C-6D60-CA1A6C2E2BB5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8F8CEE7B-150C-3C98-E796-9B5974E9C0F9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CC215CFA-82CB-7FC5-F46D-473BAF80E093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0" name="Rectangle 34">
                <a:extLst>
                  <a:ext uri="{FF2B5EF4-FFF2-40B4-BE49-F238E27FC236}">
                    <a16:creationId xmlns:a16="http://schemas.microsoft.com/office/drawing/2014/main" id="{7337900D-686C-1BAD-F168-A752CA5B38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35">
                <a:extLst>
                  <a:ext uri="{FF2B5EF4-FFF2-40B4-BE49-F238E27FC236}">
                    <a16:creationId xmlns:a16="http://schemas.microsoft.com/office/drawing/2014/main" id="{9DB0A251-23A9-7390-BCDB-C81B3F8E35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6">
                <a:extLst>
                  <a:ext uri="{FF2B5EF4-FFF2-40B4-BE49-F238E27FC236}">
                    <a16:creationId xmlns:a16="http://schemas.microsoft.com/office/drawing/2014/main" id="{2E23A128-2946-69C8-DA3A-3888D3FC56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7">
                <a:extLst>
                  <a:ext uri="{FF2B5EF4-FFF2-40B4-BE49-F238E27FC236}">
                    <a16:creationId xmlns:a16="http://schemas.microsoft.com/office/drawing/2014/main" id="{50033160-BCC3-2679-82CC-C6D540DA23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8">
                <a:extLst>
                  <a:ext uri="{FF2B5EF4-FFF2-40B4-BE49-F238E27FC236}">
                    <a16:creationId xmlns:a16="http://schemas.microsoft.com/office/drawing/2014/main" id="{7D311F88-AAD4-7ABF-D181-19B2D0FF0B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9">
                <a:extLst>
                  <a:ext uri="{FF2B5EF4-FFF2-40B4-BE49-F238E27FC236}">
                    <a16:creationId xmlns:a16="http://schemas.microsoft.com/office/drawing/2014/main" id="{C4929549-9A10-C2F1-03D7-A172B5A2C7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40">
                <a:extLst>
                  <a:ext uri="{FF2B5EF4-FFF2-40B4-BE49-F238E27FC236}">
                    <a16:creationId xmlns:a16="http://schemas.microsoft.com/office/drawing/2014/main" id="{71342676-3463-C23E-C140-8739E47854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1">
                <a:extLst>
                  <a:ext uri="{FF2B5EF4-FFF2-40B4-BE49-F238E27FC236}">
                    <a16:creationId xmlns:a16="http://schemas.microsoft.com/office/drawing/2014/main" id="{1432C399-F481-406D-B0F5-88558176C4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2">
                <a:extLst>
                  <a:ext uri="{FF2B5EF4-FFF2-40B4-BE49-F238E27FC236}">
                    <a16:creationId xmlns:a16="http://schemas.microsoft.com/office/drawing/2014/main" id="{F9E7D9FC-D80B-CD37-A3C1-F7122F82CB2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3">
                <a:extLst>
                  <a:ext uri="{FF2B5EF4-FFF2-40B4-BE49-F238E27FC236}">
                    <a16:creationId xmlns:a16="http://schemas.microsoft.com/office/drawing/2014/main" id="{56FB6F77-CA9D-ED20-968C-34FD639BFB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4">
                <a:extLst>
                  <a:ext uri="{FF2B5EF4-FFF2-40B4-BE49-F238E27FC236}">
                    <a16:creationId xmlns:a16="http://schemas.microsoft.com/office/drawing/2014/main" id="{AAB7B63F-D372-136E-78A6-875A9C7DE4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8" name="Slide edges">
              <a:extLst>
                <a:ext uri="{FF2B5EF4-FFF2-40B4-BE49-F238E27FC236}">
                  <a16:creationId xmlns:a16="http://schemas.microsoft.com/office/drawing/2014/main" id="{F0D0AD38-8B7C-1C16-70A1-8B7435304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0" name="Footnote measure">
              <a:extLst>
                <a:ext uri="{FF2B5EF4-FFF2-40B4-BE49-F238E27FC236}">
                  <a16:creationId xmlns:a16="http://schemas.microsoft.com/office/drawing/2014/main" id="{901990A9-575F-AD8C-9A01-61C5C80969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FD920048-8A37-1045-5FBB-A6B6CD1F0D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C1017BCE-5830-052C-1521-0C4D09CA1823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" name="Rectangle 5">
                <a:extLst>
                  <a:ext uri="{FF2B5EF4-FFF2-40B4-BE49-F238E27FC236}">
                    <a16:creationId xmlns:a16="http://schemas.microsoft.com/office/drawing/2014/main" id="{5FAEBDF0-9B4C-2690-4D8A-FC387635B9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7">
                <a:extLst>
                  <a:ext uri="{FF2B5EF4-FFF2-40B4-BE49-F238E27FC236}">
                    <a16:creationId xmlns:a16="http://schemas.microsoft.com/office/drawing/2014/main" id="{4DFCE8DD-D86F-A50C-3A51-E5A82582E2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9">
                <a:extLst>
                  <a:ext uri="{FF2B5EF4-FFF2-40B4-BE49-F238E27FC236}">
                    <a16:creationId xmlns:a16="http://schemas.microsoft.com/office/drawing/2014/main" id="{276970B1-F338-70D7-DC5E-68E1E53BDA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11">
                <a:extLst>
                  <a:ext uri="{FF2B5EF4-FFF2-40B4-BE49-F238E27FC236}">
                    <a16:creationId xmlns:a16="http://schemas.microsoft.com/office/drawing/2014/main" id="{62AD6061-AE5A-9AF9-5890-6A421C711A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3">
                <a:extLst>
                  <a:ext uri="{FF2B5EF4-FFF2-40B4-BE49-F238E27FC236}">
                    <a16:creationId xmlns:a16="http://schemas.microsoft.com/office/drawing/2014/main" id="{2DF940BE-1411-9B01-D9D0-6A0E1097BC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3" name="Live area">
              <a:extLst>
                <a:ext uri="{FF2B5EF4-FFF2-40B4-BE49-F238E27FC236}">
                  <a16:creationId xmlns:a16="http://schemas.microsoft.com/office/drawing/2014/main" id="{266C9D00-85A4-B6F4-C104-6759640E0170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06D710BE-4C39-3B39-3382-C128C4DFB544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71525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83867C2-34D2-0BBE-7DCA-49297481C62B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D812C04A-0C33-7687-D7CE-B1CB30B314D3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A0C5702D-396F-1F86-E11A-97E42D058A8A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F5AFBD9F-A51B-0510-9EF0-27FF149010B7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55299D7D-97AA-F593-226F-A8D3DC7247F8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DAC4F15A-9596-0633-E442-73D11C02D2E0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254C112F-06B1-9306-6BA8-9F97D2A15CC6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46EECB85-F13F-E272-6A95-48075104474B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ED516EF9-9AB9-E489-54CA-453F14F6B84E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7682E2DC-1213-14D1-0F4A-6515FF860527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761C4D39-4A0F-A3BC-2043-9EEACABDEC5F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30E93E87-7A9E-3D45-D34F-A8B12F9C91F7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218586BC-2C5A-D173-9699-E230BFD4C538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61BC1707-26F5-8E34-17BF-79386BE4AAE9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53FADCBC-4219-777E-BD93-53D633CCB159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9A18C547-898D-4017-54F5-7C0A5F79C2D6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04451D4A-8DBE-3FED-144A-82968A80E9F1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2F7E59D5-836B-5123-B57F-32E23D2A2A53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AA20C417-D2CF-C5A8-3934-F80BDD419FD9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DF71948F-5B9C-07F6-D645-FD740F85012C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D5AE1C47-6244-2AE4-2A74-BE668CA3CF7B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F2936F7F-81F3-D225-BD8B-E7DCC3B47C61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E514076F-25A7-B17E-7C4E-977D88674365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558E9F93-ACB9-4ECF-D41C-EFC7459819B4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9" name="Rectangle 34">
                <a:extLst>
                  <a:ext uri="{FF2B5EF4-FFF2-40B4-BE49-F238E27FC236}">
                    <a16:creationId xmlns:a16="http://schemas.microsoft.com/office/drawing/2014/main" id="{079427B7-28FC-EFCE-E8FA-2603CE20BC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35">
                <a:extLst>
                  <a:ext uri="{FF2B5EF4-FFF2-40B4-BE49-F238E27FC236}">
                    <a16:creationId xmlns:a16="http://schemas.microsoft.com/office/drawing/2014/main" id="{83D80D24-F875-F656-4FC4-C29A75C5F0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36">
                <a:extLst>
                  <a:ext uri="{FF2B5EF4-FFF2-40B4-BE49-F238E27FC236}">
                    <a16:creationId xmlns:a16="http://schemas.microsoft.com/office/drawing/2014/main" id="{0C5F018A-DBF4-D4B6-603F-EC0DBD558F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7">
                <a:extLst>
                  <a:ext uri="{FF2B5EF4-FFF2-40B4-BE49-F238E27FC236}">
                    <a16:creationId xmlns:a16="http://schemas.microsoft.com/office/drawing/2014/main" id="{5822EC1C-F8BA-E8A9-6681-02CB1117F0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8">
                <a:extLst>
                  <a:ext uri="{FF2B5EF4-FFF2-40B4-BE49-F238E27FC236}">
                    <a16:creationId xmlns:a16="http://schemas.microsoft.com/office/drawing/2014/main" id="{FDE81401-7912-607B-7A53-95B8E42691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9">
                <a:extLst>
                  <a:ext uri="{FF2B5EF4-FFF2-40B4-BE49-F238E27FC236}">
                    <a16:creationId xmlns:a16="http://schemas.microsoft.com/office/drawing/2014/main" id="{E6E9613B-F2F0-9C49-DFCE-895B8AF838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0">
                <a:extLst>
                  <a:ext uri="{FF2B5EF4-FFF2-40B4-BE49-F238E27FC236}">
                    <a16:creationId xmlns:a16="http://schemas.microsoft.com/office/drawing/2014/main" id="{AEF2A68D-EFDD-A073-3A8C-085849B64F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1">
                <a:extLst>
                  <a:ext uri="{FF2B5EF4-FFF2-40B4-BE49-F238E27FC236}">
                    <a16:creationId xmlns:a16="http://schemas.microsoft.com/office/drawing/2014/main" id="{6C0F4999-6335-DE11-452A-AC6AA66F8C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2">
                <a:extLst>
                  <a:ext uri="{FF2B5EF4-FFF2-40B4-BE49-F238E27FC236}">
                    <a16:creationId xmlns:a16="http://schemas.microsoft.com/office/drawing/2014/main" id="{0506155B-F38D-6A7A-360B-4463982D26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3">
                <a:extLst>
                  <a:ext uri="{FF2B5EF4-FFF2-40B4-BE49-F238E27FC236}">
                    <a16:creationId xmlns:a16="http://schemas.microsoft.com/office/drawing/2014/main" id="{E2D2A892-F096-9A02-5031-3535A8B78E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4">
                <a:extLst>
                  <a:ext uri="{FF2B5EF4-FFF2-40B4-BE49-F238E27FC236}">
                    <a16:creationId xmlns:a16="http://schemas.microsoft.com/office/drawing/2014/main" id="{CAF2E177-0977-B5C6-DE60-FF4808131B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A8CF1B1A-5C16-43DE-C262-AE3C147BA924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" name="Footnote measure">
              <a:extLst>
                <a:ext uri="{FF2B5EF4-FFF2-40B4-BE49-F238E27FC236}">
                  <a16:creationId xmlns:a16="http://schemas.microsoft.com/office/drawing/2014/main" id="{C0D6D5A2-FE2D-2C98-840A-E1C7CEE844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Whitespace measure">
              <a:extLst>
                <a:ext uri="{FF2B5EF4-FFF2-40B4-BE49-F238E27FC236}">
                  <a16:creationId xmlns:a16="http://schemas.microsoft.com/office/drawing/2014/main" id="{32FF10FA-3AC0-C0AF-070A-67338F1A14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Five column measure">
              <a:extLst>
                <a:ext uri="{FF2B5EF4-FFF2-40B4-BE49-F238E27FC236}">
                  <a16:creationId xmlns:a16="http://schemas.microsoft.com/office/drawing/2014/main" id="{7C13865A-EA14-BBDB-6CA4-FEAD8B5021C8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4" name="Rectangle 5">
                <a:extLst>
                  <a:ext uri="{FF2B5EF4-FFF2-40B4-BE49-F238E27FC236}">
                    <a16:creationId xmlns:a16="http://schemas.microsoft.com/office/drawing/2014/main" id="{4C9A66F6-BE84-CBBB-CAF4-75225851E4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Rectangle 7">
                <a:extLst>
                  <a:ext uri="{FF2B5EF4-FFF2-40B4-BE49-F238E27FC236}">
                    <a16:creationId xmlns:a16="http://schemas.microsoft.com/office/drawing/2014/main" id="{5D901836-3036-9148-8A09-06AB3CFAEC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9">
                <a:extLst>
                  <a:ext uri="{FF2B5EF4-FFF2-40B4-BE49-F238E27FC236}">
                    <a16:creationId xmlns:a16="http://schemas.microsoft.com/office/drawing/2014/main" id="{8A871897-278C-3F06-6DA3-5463762FD3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11">
                <a:extLst>
                  <a:ext uri="{FF2B5EF4-FFF2-40B4-BE49-F238E27FC236}">
                    <a16:creationId xmlns:a16="http://schemas.microsoft.com/office/drawing/2014/main" id="{069E48FF-7B4E-83E8-DAA1-761EA6ABC4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13">
                <a:extLst>
                  <a:ext uri="{FF2B5EF4-FFF2-40B4-BE49-F238E27FC236}">
                    <a16:creationId xmlns:a16="http://schemas.microsoft.com/office/drawing/2014/main" id="{61F22E88-1C8C-A754-425B-C6A9F7CABC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" name="Live area">
              <a:extLst>
                <a:ext uri="{FF2B5EF4-FFF2-40B4-BE49-F238E27FC236}">
                  <a16:creationId xmlns:a16="http://schemas.microsoft.com/office/drawing/2014/main" id="{8DF3C429-630D-EED8-79BA-37B0C6289FDF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3" name="Footnote example">
              <a:extLst>
                <a:ext uri="{FF2B5EF4-FFF2-40B4-BE49-F238E27FC236}">
                  <a16:creationId xmlns:a16="http://schemas.microsoft.com/office/drawing/2014/main" id="{C10789C3-CEAC-D81B-A1D3-28C04C29CD18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27912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AB340C12-7EC8-7A22-F967-7555F623A51A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660B88C8-F52D-94F5-309C-73A707C17D2B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B83DFD4A-103C-B45B-4FA2-91393FAD587B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6C9FC946-3374-C069-1849-CF9BEA6AC9FD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64DC489D-6C4B-4297-14B3-6F0A2C5D98AA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61FA1D28-E38C-DAFF-FE72-6D929CCB3C9B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A8D073E9-780F-22FA-4C04-F25BBE93876D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091F6BA0-F2A9-6DAE-1529-9DA55489A230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95071D9D-0CE7-9F25-4742-56EC11927B30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92A96104-AFA7-C5BF-3FD5-E3A236A31138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425747DF-08F5-7F1C-C942-AD55DCC8D3A4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FFAF9962-651E-89A9-2B7A-3A1BFCD77805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96714370-6A95-A4EA-59B2-9E76AEF2E08F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5431190B-70E2-FBE7-B449-56AE1FF38CD2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419B2C1D-1128-3D23-33B4-763AB7049B14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BE1CA8B7-CFCB-B7A4-1B3C-43947817FB41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450783E3-A2F5-F593-7650-20AF4A599637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E4FD5C34-5822-69D0-84A2-1519E8D1FD44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66511A53-28F0-4E27-2C0C-6C8F9C0B2CF7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915BCA8B-C11E-975C-910E-E4F8959FA5F5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6EB49FFB-65B8-DC2F-6DE2-75ECEDE5ECA0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D369C4EA-4C88-28A6-52F0-725689B06C8C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0923FA1C-57D0-BFA3-83C8-C5CAE8789784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C39D3B60-1F98-E0A9-0FBB-5FA11273B79D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3" name="Rectangle 34">
                <a:extLst>
                  <a:ext uri="{FF2B5EF4-FFF2-40B4-BE49-F238E27FC236}">
                    <a16:creationId xmlns:a16="http://schemas.microsoft.com/office/drawing/2014/main" id="{0B9116B3-DFEA-6B6D-583E-42D4CC4F29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5">
                <a:extLst>
                  <a:ext uri="{FF2B5EF4-FFF2-40B4-BE49-F238E27FC236}">
                    <a16:creationId xmlns:a16="http://schemas.microsoft.com/office/drawing/2014/main" id="{0F5E8797-C0EA-175F-4246-A9238E733A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6">
                <a:extLst>
                  <a:ext uri="{FF2B5EF4-FFF2-40B4-BE49-F238E27FC236}">
                    <a16:creationId xmlns:a16="http://schemas.microsoft.com/office/drawing/2014/main" id="{6754C620-8DE4-6DB6-3F1F-CAD9E031F7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7">
                <a:extLst>
                  <a:ext uri="{FF2B5EF4-FFF2-40B4-BE49-F238E27FC236}">
                    <a16:creationId xmlns:a16="http://schemas.microsoft.com/office/drawing/2014/main" id="{993DFE27-0AA9-8E71-F954-2B677E5FCB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8">
                <a:extLst>
                  <a:ext uri="{FF2B5EF4-FFF2-40B4-BE49-F238E27FC236}">
                    <a16:creationId xmlns:a16="http://schemas.microsoft.com/office/drawing/2014/main" id="{739DA99A-42A6-658F-B42B-92AA69FC82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39">
                <a:extLst>
                  <a:ext uri="{FF2B5EF4-FFF2-40B4-BE49-F238E27FC236}">
                    <a16:creationId xmlns:a16="http://schemas.microsoft.com/office/drawing/2014/main" id="{E19B1277-0F8B-C874-8239-864DBB5557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0">
                <a:extLst>
                  <a:ext uri="{FF2B5EF4-FFF2-40B4-BE49-F238E27FC236}">
                    <a16:creationId xmlns:a16="http://schemas.microsoft.com/office/drawing/2014/main" id="{9131268A-D578-2029-13D0-7340ED5850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1">
                <a:extLst>
                  <a:ext uri="{FF2B5EF4-FFF2-40B4-BE49-F238E27FC236}">
                    <a16:creationId xmlns:a16="http://schemas.microsoft.com/office/drawing/2014/main" id="{F273A6DF-8939-EE66-B6DD-2CB3239DC1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2">
                <a:extLst>
                  <a:ext uri="{FF2B5EF4-FFF2-40B4-BE49-F238E27FC236}">
                    <a16:creationId xmlns:a16="http://schemas.microsoft.com/office/drawing/2014/main" id="{7DEB2D87-34C4-EA7F-B5CE-30CAAFD916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3">
                <a:extLst>
                  <a:ext uri="{FF2B5EF4-FFF2-40B4-BE49-F238E27FC236}">
                    <a16:creationId xmlns:a16="http://schemas.microsoft.com/office/drawing/2014/main" id="{D1AF73CB-4883-58AE-782C-F53EE6B98D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44">
                <a:extLst>
                  <a:ext uri="{FF2B5EF4-FFF2-40B4-BE49-F238E27FC236}">
                    <a16:creationId xmlns:a16="http://schemas.microsoft.com/office/drawing/2014/main" id="{53ABD983-4576-1671-D5E3-6A83F16A9F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59A830C5-0684-4A31-EF2E-A2667CE9465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" name="Footnote measure">
              <a:extLst>
                <a:ext uri="{FF2B5EF4-FFF2-40B4-BE49-F238E27FC236}">
                  <a16:creationId xmlns:a16="http://schemas.microsoft.com/office/drawing/2014/main" id="{43759422-478C-F73E-A3F3-AC70347F3C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Whitespace measure">
              <a:extLst>
                <a:ext uri="{FF2B5EF4-FFF2-40B4-BE49-F238E27FC236}">
                  <a16:creationId xmlns:a16="http://schemas.microsoft.com/office/drawing/2014/main" id="{7227272C-0C0F-4A42-1D3E-666E2B49BB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Five column measure">
              <a:extLst>
                <a:ext uri="{FF2B5EF4-FFF2-40B4-BE49-F238E27FC236}">
                  <a16:creationId xmlns:a16="http://schemas.microsoft.com/office/drawing/2014/main" id="{5B2FE704-0546-4AEA-06C7-091C3105866F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" name="Rectangle 5">
                <a:extLst>
                  <a:ext uri="{FF2B5EF4-FFF2-40B4-BE49-F238E27FC236}">
                    <a16:creationId xmlns:a16="http://schemas.microsoft.com/office/drawing/2014/main" id="{079B5E27-1CCD-6BEA-EA65-4D056DED88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Rectangle 7">
                <a:extLst>
                  <a:ext uri="{FF2B5EF4-FFF2-40B4-BE49-F238E27FC236}">
                    <a16:creationId xmlns:a16="http://schemas.microsoft.com/office/drawing/2014/main" id="{5ED53AD2-3A63-181B-C91D-551548D4E9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9">
                <a:extLst>
                  <a:ext uri="{FF2B5EF4-FFF2-40B4-BE49-F238E27FC236}">
                    <a16:creationId xmlns:a16="http://schemas.microsoft.com/office/drawing/2014/main" id="{6FE56E2F-A4F5-B5DE-A632-55182E8A05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1">
                <a:extLst>
                  <a:ext uri="{FF2B5EF4-FFF2-40B4-BE49-F238E27FC236}">
                    <a16:creationId xmlns:a16="http://schemas.microsoft.com/office/drawing/2014/main" id="{4608141E-E2BB-FC7F-6E36-BDA29BDC95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13">
                <a:extLst>
                  <a:ext uri="{FF2B5EF4-FFF2-40B4-BE49-F238E27FC236}">
                    <a16:creationId xmlns:a16="http://schemas.microsoft.com/office/drawing/2014/main" id="{22A99521-92B2-C377-59E3-28812EB7C2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" name="Live area">
              <a:extLst>
                <a:ext uri="{FF2B5EF4-FFF2-40B4-BE49-F238E27FC236}">
                  <a16:creationId xmlns:a16="http://schemas.microsoft.com/office/drawing/2014/main" id="{FB3C8917-B85E-4461-92F7-B90621A2694A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E9416E45-9EBD-5821-6160-DEE945A67475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52513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6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662D44E-21FA-47FA-F917-5DF246B56F6F}"/>
              </a:ext>
            </a:extLst>
          </p:cNvPr>
          <p:cNvGrpSpPr/>
          <p:nvPr userDrawn="1">
            <p:custDataLst>
              <p:tags r:id="rId4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" name="No fly zone">
              <a:extLst>
                <a:ext uri="{FF2B5EF4-FFF2-40B4-BE49-F238E27FC236}">
                  <a16:creationId xmlns:a16="http://schemas.microsoft.com/office/drawing/2014/main" id="{866CC858-4439-4832-88E3-E2CF5004BCB2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6" name="Baselines / anchors">
              <a:extLst>
                <a:ext uri="{FF2B5EF4-FFF2-40B4-BE49-F238E27FC236}">
                  <a16:creationId xmlns:a16="http://schemas.microsoft.com/office/drawing/2014/main" id="{165CD874-690E-494D-5CE7-C5ABA62EA609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73786F5D-1047-D1C0-4208-C581D08FB679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25A2E115-D8C5-E25B-9CE4-4A3435A38EAB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930702A2-636D-3895-C72A-3E33A9FC72C8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6810DEF4-7A24-384F-0E41-3EE7E88E7DAE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D5E49E25-8F5F-7FF7-A8C3-7751BF91DD26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483840B2-90E8-C915-D3C1-365C59ED23A9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50B685BB-9A6D-DB37-6468-24298082C6AC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5CF91ACE-47DC-4CF9-2978-31A4CC3B248A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3A8E28FC-744B-9AD4-2A8A-46FA41FF249B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E6ED0D70-CDA2-CA94-DC04-7F5B3793E092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8AEECA4D-17AE-2BAB-0798-EAD9DEBEE4C9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156B184B-4FF5-66F9-F35E-CB07CDA4FF87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CAE1EE37-F463-0458-3327-99DDBAAD2EB0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BB755F2D-9558-F1CD-07EC-003A99A73107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DA5F8657-5C5A-6C1A-F795-87CCC00146CD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2D80C62B-549E-4207-DD96-2B05B269FF16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48F275BB-89C3-C36B-7108-627BF2E92FBA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A500E6FA-ED32-98E5-4C6A-7771C90DA26A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775B53E3-75F7-64A2-30C8-91C86DF58269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03A11180-3041-ADDA-83CE-F135C87BF336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utter space">
              <a:extLst>
                <a:ext uri="{FF2B5EF4-FFF2-40B4-BE49-F238E27FC236}">
                  <a16:creationId xmlns:a16="http://schemas.microsoft.com/office/drawing/2014/main" id="{F173605E-C3A9-384D-0310-6CBF450A92BB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3" name="Rectangle 34">
                <a:extLst>
                  <a:ext uri="{FF2B5EF4-FFF2-40B4-BE49-F238E27FC236}">
                    <a16:creationId xmlns:a16="http://schemas.microsoft.com/office/drawing/2014/main" id="{2BA4AFF6-6B2A-17DD-D533-EE02276F23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5">
                <a:extLst>
                  <a:ext uri="{FF2B5EF4-FFF2-40B4-BE49-F238E27FC236}">
                    <a16:creationId xmlns:a16="http://schemas.microsoft.com/office/drawing/2014/main" id="{56E77657-634A-B2DA-43A8-F299035ADE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6">
                <a:extLst>
                  <a:ext uri="{FF2B5EF4-FFF2-40B4-BE49-F238E27FC236}">
                    <a16:creationId xmlns:a16="http://schemas.microsoft.com/office/drawing/2014/main" id="{1FF6417D-CEE8-5928-DDDC-6A2C3FF2BF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7">
                <a:extLst>
                  <a:ext uri="{FF2B5EF4-FFF2-40B4-BE49-F238E27FC236}">
                    <a16:creationId xmlns:a16="http://schemas.microsoft.com/office/drawing/2014/main" id="{C7F72ADC-1889-75D6-B1DE-3789D83ECF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8">
                <a:extLst>
                  <a:ext uri="{FF2B5EF4-FFF2-40B4-BE49-F238E27FC236}">
                    <a16:creationId xmlns:a16="http://schemas.microsoft.com/office/drawing/2014/main" id="{38FBD44F-C918-AA47-673D-63425246DB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39">
                <a:extLst>
                  <a:ext uri="{FF2B5EF4-FFF2-40B4-BE49-F238E27FC236}">
                    <a16:creationId xmlns:a16="http://schemas.microsoft.com/office/drawing/2014/main" id="{635C3BDC-B7C1-511E-029A-9F9679CEB3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0">
                <a:extLst>
                  <a:ext uri="{FF2B5EF4-FFF2-40B4-BE49-F238E27FC236}">
                    <a16:creationId xmlns:a16="http://schemas.microsoft.com/office/drawing/2014/main" id="{87D0F547-C3C9-C2E2-5D25-D52F55F3BE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1">
                <a:extLst>
                  <a:ext uri="{FF2B5EF4-FFF2-40B4-BE49-F238E27FC236}">
                    <a16:creationId xmlns:a16="http://schemas.microsoft.com/office/drawing/2014/main" id="{5650B5D5-5976-A98D-4B2C-FA4AC9D5B0C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2">
                <a:extLst>
                  <a:ext uri="{FF2B5EF4-FFF2-40B4-BE49-F238E27FC236}">
                    <a16:creationId xmlns:a16="http://schemas.microsoft.com/office/drawing/2014/main" id="{B7E0D404-D6A3-0811-7086-3CB9C09AB6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3">
                <a:extLst>
                  <a:ext uri="{FF2B5EF4-FFF2-40B4-BE49-F238E27FC236}">
                    <a16:creationId xmlns:a16="http://schemas.microsoft.com/office/drawing/2014/main" id="{740CBDDF-A2FE-B51D-75B1-FB91153EDF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Rectangle 44">
                <a:extLst>
                  <a:ext uri="{FF2B5EF4-FFF2-40B4-BE49-F238E27FC236}">
                    <a16:creationId xmlns:a16="http://schemas.microsoft.com/office/drawing/2014/main" id="{8EB851A2-6FDF-A5BE-D568-77D9F64DDC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9" name="Slide edges">
              <a:extLst>
                <a:ext uri="{FF2B5EF4-FFF2-40B4-BE49-F238E27FC236}">
                  <a16:creationId xmlns:a16="http://schemas.microsoft.com/office/drawing/2014/main" id="{754F62A5-1DEB-E9A5-32E9-43B0A41E4915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3" name="Footnote measure">
              <a:extLst>
                <a:ext uri="{FF2B5EF4-FFF2-40B4-BE49-F238E27FC236}">
                  <a16:creationId xmlns:a16="http://schemas.microsoft.com/office/drawing/2014/main" id="{A1EE5EB1-F40E-7D81-6863-D9FC7A9909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Whitespace measure">
              <a:extLst>
                <a:ext uri="{FF2B5EF4-FFF2-40B4-BE49-F238E27FC236}">
                  <a16:creationId xmlns:a16="http://schemas.microsoft.com/office/drawing/2014/main" id="{B2DBFE8E-5EAA-36B0-C49B-8F749E268F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5" name="Five column measure">
              <a:extLst>
                <a:ext uri="{FF2B5EF4-FFF2-40B4-BE49-F238E27FC236}">
                  <a16:creationId xmlns:a16="http://schemas.microsoft.com/office/drawing/2014/main" id="{B560A9C8-A843-88C6-F7F2-20E158151F2A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8" name="Rectangle 5">
                <a:extLst>
                  <a:ext uri="{FF2B5EF4-FFF2-40B4-BE49-F238E27FC236}">
                    <a16:creationId xmlns:a16="http://schemas.microsoft.com/office/drawing/2014/main" id="{A3508995-71F9-C835-0670-298AEA1B30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7">
                <a:extLst>
                  <a:ext uri="{FF2B5EF4-FFF2-40B4-BE49-F238E27FC236}">
                    <a16:creationId xmlns:a16="http://schemas.microsoft.com/office/drawing/2014/main" id="{0D4E28AB-921A-220F-0005-AD192DC052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9">
                <a:extLst>
                  <a:ext uri="{FF2B5EF4-FFF2-40B4-BE49-F238E27FC236}">
                    <a16:creationId xmlns:a16="http://schemas.microsoft.com/office/drawing/2014/main" id="{8D9A8D85-5C1B-2AFB-46A0-5B0C49667A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1">
                <a:extLst>
                  <a:ext uri="{FF2B5EF4-FFF2-40B4-BE49-F238E27FC236}">
                    <a16:creationId xmlns:a16="http://schemas.microsoft.com/office/drawing/2014/main" id="{187B9B30-D399-79FA-9A27-056F61F067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13">
                <a:extLst>
                  <a:ext uri="{FF2B5EF4-FFF2-40B4-BE49-F238E27FC236}">
                    <a16:creationId xmlns:a16="http://schemas.microsoft.com/office/drawing/2014/main" id="{FF10C7FB-904B-54A3-F009-4257A7917E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6" name="Live area">
              <a:extLst>
                <a:ext uri="{FF2B5EF4-FFF2-40B4-BE49-F238E27FC236}">
                  <a16:creationId xmlns:a16="http://schemas.microsoft.com/office/drawing/2014/main" id="{733682CE-BCC0-81E6-D95E-BB580ECE3C4F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7" name="Footnote example">
              <a:extLst>
                <a:ext uri="{FF2B5EF4-FFF2-40B4-BE49-F238E27FC236}">
                  <a16:creationId xmlns:a16="http://schemas.microsoft.com/office/drawing/2014/main" id="{5695D890-C513-BEFF-1553-ADBECE88E05F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5567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E294512-8B93-A308-6869-D1549ECE614D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C1ED4B7C-E12C-E974-3532-D01AFCA8C72F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CBABBDAB-2E28-191E-8393-7958B1B13099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67C96D3C-6952-C03A-744A-7F16C8E91833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A5753209-A868-2AFF-5BBE-944BB3C6660D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5052E1AA-8B89-EF7C-6D1B-AF005A4B640B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2C1CE54E-8272-7C25-62E5-C3CFDBED57F3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577CEDAF-76EE-0DAB-955B-90AB1266CDEE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B24F8EBE-2E77-32F5-3B4E-38BE1D7F841A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082A47DB-7711-0B51-7478-A9321F77BB02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7F2EEFDA-A77D-820E-C889-EF130C626E0A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8F22956D-96AE-6467-72B2-F69F0D7EBF53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80994130-E74B-6FF7-1020-E26D93FDB79A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C416C726-A071-ED18-D81F-E710527D32C4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A4A15373-7A17-2876-3DB0-C8D6772949CA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F39F257B-C89B-2670-28CB-D3B4D1CFA563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E5A28CF9-42A9-9E07-214C-EE0F453747F5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E3A5BDF4-D151-343A-FC89-F35130521506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29BE7756-3ACA-84E2-33E4-86BA9A83290B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AF6D4D64-AEDA-9120-8F4E-6ED12463A0FE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66041C71-1682-1484-2641-C887719FDF72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E669F1D1-AB3D-F921-0E6C-E10D44BB8BBB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2CE4B5ED-F047-22D1-66DC-78A3A03339EA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9CE4B0F5-FA1C-257D-3203-83CF57B645D7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1" name="Rectangle 34">
                <a:extLst>
                  <a:ext uri="{FF2B5EF4-FFF2-40B4-BE49-F238E27FC236}">
                    <a16:creationId xmlns:a16="http://schemas.microsoft.com/office/drawing/2014/main" id="{4A3305EB-899E-1315-C0DE-24A10C72E1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5">
                <a:extLst>
                  <a:ext uri="{FF2B5EF4-FFF2-40B4-BE49-F238E27FC236}">
                    <a16:creationId xmlns:a16="http://schemas.microsoft.com/office/drawing/2014/main" id="{624A4E18-FEE3-E300-ACAD-877D61004D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6">
                <a:extLst>
                  <a:ext uri="{FF2B5EF4-FFF2-40B4-BE49-F238E27FC236}">
                    <a16:creationId xmlns:a16="http://schemas.microsoft.com/office/drawing/2014/main" id="{5D8BC5B1-2229-860C-1773-F95BDEB381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7">
                <a:extLst>
                  <a:ext uri="{FF2B5EF4-FFF2-40B4-BE49-F238E27FC236}">
                    <a16:creationId xmlns:a16="http://schemas.microsoft.com/office/drawing/2014/main" id="{A1886157-746E-2E3A-19F4-2B4D90C75E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8">
                <a:extLst>
                  <a:ext uri="{FF2B5EF4-FFF2-40B4-BE49-F238E27FC236}">
                    <a16:creationId xmlns:a16="http://schemas.microsoft.com/office/drawing/2014/main" id="{8608E5D1-5A0F-B354-9C1B-109375F7BD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9">
                <a:extLst>
                  <a:ext uri="{FF2B5EF4-FFF2-40B4-BE49-F238E27FC236}">
                    <a16:creationId xmlns:a16="http://schemas.microsoft.com/office/drawing/2014/main" id="{956CC9F7-A36B-9801-1935-1F1720DC9F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0">
                <a:extLst>
                  <a:ext uri="{FF2B5EF4-FFF2-40B4-BE49-F238E27FC236}">
                    <a16:creationId xmlns:a16="http://schemas.microsoft.com/office/drawing/2014/main" id="{545BDFC2-292E-EC7D-A8BF-6295D170CF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1">
                <a:extLst>
                  <a:ext uri="{FF2B5EF4-FFF2-40B4-BE49-F238E27FC236}">
                    <a16:creationId xmlns:a16="http://schemas.microsoft.com/office/drawing/2014/main" id="{F4A08248-922A-F5E6-CEFA-5D283CD050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2">
                <a:extLst>
                  <a:ext uri="{FF2B5EF4-FFF2-40B4-BE49-F238E27FC236}">
                    <a16:creationId xmlns:a16="http://schemas.microsoft.com/office/drawing/2014/main" id="{B94BDCB8-7C1E-C1F2-58DD-470F3378DE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3">
                <a:extLst>
                  <a:ext uri="{FF2B5EF4-FFF2-40B4-BE49-F238E27FC236}">
                    <a16:creationId xmlns:a16="http://schemas.microsoft.com/office/drawing/2014/main" id="{E80CDAE8-2152-BB5E-7051-BCF0746752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4">
                <a:extLst>
                  <a:ext uri="{FF2B5EF4-FFF2-40B4-BE49-F238E27FC236}">
                    <a16:creationId xmlns:a16="http://schemas.microsoft.com/office/drawing/2014/main" id="{0E5BC7C2-FC93-0128-7686-D1071A3A49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8" name="Slide edges">
              <a:extLst>
                <a:ext uri="{FF2B5EF4-FFF2-40B4-BE49-F238E27FC236}">
                  <a16:creationId xmlns:a16="http://schemas.microsoft.com/office/drawing/2014/main" id="{3D842552-A379-0AF1-6AF3-7B98C0A86153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:a16="http://schemas.microsoft.com/office/drawing/2014/main" id="{CDEC869E-6D34-E8EC-3C93-D4F2E1569F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1E7649E8-343A-15FC-3B1F-8C100412BB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7C5B9D3D-C04E-3DFB-B17F-5838D781F60A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6" name="Rectangle 5">
                <a:extLst>
                  <a:ext uri="{FF2B5EF4-FFF2-40B4-BE49-F238E27FC236}">
                    <a16:creationId xmlns:a16="http://schemas.microsoft.com/office/drawing/2014/main" id="{787D963E-2EC8-A3F9-F973-59ACD4CF01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7">
                <a:extLst>
                  <a:ext uri="{FF2B5EF4-FFF2-40B4-BE49-F238E27FC236}">
                    <a16:creationId xmlns:a16="http://schemas.microsoft.com/office/drawing/2014/main" id="{12E1CA96-2B9B-CE83-B53B-20D62CFE1D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9">
                <a:extLst>
                  <a:ext uri="{FF2B5EF4-FFF2-40B4-BE49-F238E27FC236}">
                    <a16:creationId xmlns:a16="http://schemas.microsoft.com/office/drawing/2014/main" id="{8776F898-D2BE-95B1-A520-88AFB62A08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1">
                <a:extLst>
                  <a:ext uri="{FF2B5EF4-FFF2-40B4-BE49-F238E27FC236}">
                    <a16:creationId xmlns:a16="http://schemas.microsoft.com/office/drawing/2014/main" id="{812455D3-2452-6559-804B-57A57B9BED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3">
                <a:extLst>
                  <a:ext uri="{FF2B5EF4-FFF2-40B4-BE49-F238E27FC236}">
                    <a16:creationId xmlns:a16="http://schemas.microsoft.com/office/drawing/2014/main" id="{DDF83439-7C4D-74C9-8501-1FB466C70D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4" name="Live area">
              <a:extLst>
                <a:ext uri="{FF2B5EF4-FFF2-40B4-BE49-F238E27FC236}">
                  <a16:creationId xmlns:a16="http://schemas.microsoft.com/office/drawing/2014/main" id="{B97A5472-1E20-8E3C-EA1F-F8F823FCC55F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5" name="Footnote example">
              <a:extLst>
                <a:ext uri="{FF2B5EF4-FFF2-40B4-BE49-F238E27FC236}">
                  <a16:creationId xmlns:a16="http://schemas.microsoft.com/office/drawing/2014/main" id="{99EF3331-D4A7-52DF-F872-7C704C33947F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04387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8160156D-9B72-509E-CB96-8E558E651125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DD8608CB-374D-1953-67EF-B8D8E322F007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0E4B1D80-3C3D-1557-48D1-F2014C88C074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44436B61-9A32-1E3A-DCE1-5743356BC9D5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712DB2A3-5570-BE60-C928-884B6F494730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B34BA63E-4BFD-5B4B-524F-A2A1BAD2239C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A53F71FA-49C2-A9C0-B9E5-31582FF5E22A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320013C1-B1A7-72E4-703A-7307BB4ECD92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C62ED7C3-0738-84AD-FCC7-EDA46DF24DA5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781F513D-B3AF-0571-204A-DDC404CB8EE7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8E79C29F-05E8-235E-3CD4-1BD437203C4F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C254F651-4C6A-BAA0-355F-BCBF51959431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E6095928-81C5-F293-535B-CA787894AE7B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ADD9D985-2A47-22DF-EE90-6D1085334E57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9778158A-8693-5EDB-A24B-DD19F535286E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195E76F3-17EA-C54C-2D26-598D1CF319E1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0BD6E243-3AA6-C4FD-7594-773145142E9E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8EC405DB-7579-AF9E-B2A9-9FD2D747D5F1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9D487A95-8379-15AB-57BE-05DB4AEEA143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5C1B542D-95FD-ACDE-114F-E7E9D7329603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0F1086A1-6DF1-FBFE-35F1-183BE4C4EF90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0C23B564-ED47-2E60-2B6B-B79BA78AE072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3202994C-FD5A-D278-3AE2-E6D15519F5F4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D6C25C68-08B0-F5D8-323E-9930296F9D47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1" name="Rectangle 34">
                <a:extLst>
                  <a:ext uri="{FF2B5EF4-FFF2-40B4-BE49-F238E27FC236}">
                    <a16:creationId xmlns:a16="http://schemas.microsoft.com/office/drawing/2014/main" id="{1BFAE21D-4CE4-A266-1D07-40140D42BF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Rectangle 35">
                <a:extLst>
                  <a:ext uri="{FF2B5EF4-FFF2-40B4-BE49-F238E27FC236}">
                    <a16:creationId xmlns:a16="http://schemas.microsoft.com/office/drawing/2014/main" id="{A00C9E4B-E536-A012-5A78-FA10B0EAE1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6">
                <a:extLst>
                  <a:ext uri="{FF2B5EF4-FFF2-40B4-BE49-F238E27FC236}">
                    <a16:creationId xmlns:a16="http://schemas.microsoft.com/office/drawing/2014/main" id="{40574414-A799-C908-8F77-DD4F2F9537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7">
                <a:extLst>
                  <a:ext uri="{FF2B5EF4-FFF2-40B4-BE49-F238E27FC236}">
                    <a16:creationId xmlns:a16="http://schemas.microsoft.com/office/drawing/2014/main" id="{87643779-872C-4E6D-8ED6-BF6F1E2DA0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8">
                <a:extLst>
                  <a:ext uri="{FF2B5EF4-FFF2-40B4-BE49-F238E27FC236}">
                    <a16:creationId xmlns:a16="http://schemas.microsoft.com/office/drawing/2014/main" id="{62D430BF-8046-4E25-66B3-2679408D2E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9">
                <a:extLst>
                  <a:ext uri="{FF2B5EF4-FFF2-40B4-BE49-F238E27FC236}">
                    <a16:creationId xmlns:a16="http://schemas.microsoft.com/office/drawing/2014/main" id="{A7C0E627-14B4-35A7-8C8E-FCA98FCA4A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40">
                <a:extLst>
                  <a:ext uri="{FF2B5EF4-FFF2-40B4-BE49-F238E27FC236}">
                    <a16:creationId xmlns:a16="http://schemas.microsoft.com/office/drawing/2014/main" id="{D9E62BEF-4264-C7BB-E7CB-C593F8A158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1">
                <a:extLst>
                  <a:ext uri="{FF2B5EF4-FFF2-40B4-BE49-F238E27FC236}">
                    <a16:creationId xmlns:a16="http://schemas.microsoft.com/office/drawing/2014/main" id="{B9794465-49A8-03BC-1632-1D17801FEE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2">
                <a:extLst>
                  <a:ext uri="{FF2B5EF4-FFF2-40B4-BE49-F238E27FC236}">
                    <a16:creationId xmlns:a16="http://schemas.microsoft.com/office/drawing/2014/main" id="{A1652D64-71FE-DFD6-AF03-162800FD02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3">
                <a:extLst>
                  <a:ext uri="{FF2B5EF4-FFF2-40B4-BE49-F238E27FC236}">
                    <a16:creationId xmlns:a16="http://schemas.microsoft.com/office/drawing/2014/main" id="{BF3F55F5-A87F-370A-08FD-DC39C965C0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4">
                <a:extLst>
                  <a:ext uri="{FF2B5EF4-FFF2-40B4-BE49-F238E27FC236}">
                    <a16:creationId xmlns:a16="http://schemas.microsoft.com/office/drawing/2014/main" id="{276D1451-1BB3-3519-570C-35506A8DB9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8" name="Slide edges">
              <a:extLst>
                <a:ext uri="{FF2B5EF4-FFF2-40B4-BE49-F238E27FC236}">
                  <a16:creationId xmlns:a16="http://schemas.microsoft.com/office/drawing/2014/main" id="{8C26212B-68C1-236F-178F-9E9C95F0B0BD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" name="Footnote measure">
              <a:extLst>
                <a:ext uri="{FF2B5EF4-FFF2-40B4-BE49-F238E27FC236}">
                  <a16:creationId xmlns:a16="http://schemas.microsoft.com/office/drawing/2014/main" id="{9D7083B6-6E60-A2A4-D615-7844895B8B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Whitespace measure">
              <a:extLst>
                <a:ext uri="{FF2B5EF4-FFF2-40B4-BE49-F238E27FC236}">
                  <a16:creationId xmlns:a16="http://schemas.microsoft.com/office/drawing/2014/main" id="{0C880474-2812-8B81-B1DB-E73B71311F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Five column measure">
              <a:extLst>
                <a:ext uri="{FF2B5EF4-FFF2-40B4-BE49-F238E27FC236}">
                  <a16:creationId xmlns:a16="http://schemas.microsoft.com/office/drawing/2014/main" id="{607F1E35-87A2-C674-4D78-177651DECE89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6" name="Rectangle 5">
                <a:extLst>
                  <a:ext uri="{FF2B5EF4-FFF2-40B4-BE49-F238E27FC236}">
                    <a16:creationId xmlns:a16="http://schemas.microsoft.com/office/drawing/2014/main" id="{09A87470-D6B5-E313-C077-D1622BC2C1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Rectangle 7">
                <a:extLst>
                  <a:ext uri="{FF2B5EF4-FFF2-40B4-BE49-F238E27FC236}">
                    <a16:creationId xmlns:a16="http://schemas.microsoft.com/office/drawing/2014/main" id="{7BE5C943-A5DB-44BA-7CAC-609FFD892C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9">
                <a:extLst>
                  <a:ext uri="{FF2B5EF4-FFF2-40B4-BE49-F238E27FC236}">
                    <a16:creationId xmlns:a16="http://schemas.microsoft.com/office/drawing/2014/main" id="{F3810D80-1435-2021-924E-F708B6A28A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11">
                <a:extLst>
                  <a:ext uri="{FF2B5EF4-FFF2-40B4-BE49-F238E27FC236}">
                    <a16:creationId xmlns:a16="http://schemas.microsoft.com/office/drawing/2014/main" id="{273CD29E-BD96-4202-BE5B-16239B98C4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3">
                <a:extLst>
                  <a:ext uri="{FF2B5EF4-FFF2-40B4-BE49-F238E27FC236}">
                    <a16:creationId xmlns:a16="http://schemas.microsoft.com/office/drawing/2014/main" id="{F8084999-71EF-B160-27C5-E3EB795046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4" name="Live area">
              <a:extLst>
                <a:ext uri="{FF2B5EF4-FFF2-40B4-BE49-F238E27FC236}">
                  <a16:creationId xmlns:a16="http://schemas.microsoft.com/office/drawing/2014/main" id="{3C96A79D-CD7E-CB42-76EF-A6AF89889AF9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5" name="Footnote example">
              <a:extLst>
                <a:ext uri="{FF2B5EF4-FFF2-40B4-BE49-F238E27FC236}">
                  <a16:creationId xmlns:a16="http://schemas.microsoft.com/office/drawing/2014/main" id="{0D5460E6-00AC-949F-4118-5B26ACDB8053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6278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E66B3A9-B3AB-E867-F72A-3E058899F25B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4" name="No fly zone">
              <a:extLst>
                <a:ext uri="{FF2B5EF4-FFF2-40B4-BE49-F238E27FC236}">
                  <a16:creationId xmlns:a16="http://schemas.microsoft.com/office/drawing/2014/main" id="{D0298AC6-D110-2292-4A1C-D11D84E9C07C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" name="Baselines / anchors">
              <a:extLst>
                <a:ext uri="{FF2B5EF4-FFF2-40B4-BE49-F238E27FC236}">
                  <a16:creationId xmlns:a16="http://schemas.microsoft.com/office/drawing/2014/main" id="{4BA44A02-3163-7E5D-BFAA-4972A476B93A}"/>
                </a:ext>
              </a:extLst>
            </p:cNvPr>
            <p:cNvGrpSpPr/>
            <p:nvPr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40A1FEEE-56B2-36B5-2021-2D211D41E70B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B995A313-5287-E321-7CE7-F3E7E3B28003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8A328A79-2B31-B44D-B1FE-23DDCBF85850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7E99B4E5-4F66-D3AF-7713-6204D667A1E1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E3C638FE-C79E-1CEA-C7D8-7CC2460C24E2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83CF28DB-E1E4-A11B-73DC-1922C6E8BA36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F487B7DB-50EB-0E34-E3FE-6C282D36CBFC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18867B7A-0B19-44D9-7261-9351B50098A1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49D9E731-0C65-647F-19E9-5F4A30DA3123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E3C13118-10E3-F9E5-BD50-3E89D2D53474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960C758D-059C-5A6D-49D5-EFDA74B64F60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D6F6DE2C-D398-2667-E822-19C1D6F863F5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5BBFE4B8-7F66-F755-1A79-E800401CBC13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C6C70466-B208-73C8-1F93-96DF84C556AF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B24E4283-37ED-A7C8-1637-8F6C77A53F42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>
                <a:extLst>
                  <a:ext uri="{FF2B5EF4-FFF2-40B4-BE49-F238E27FC236}">
                    <a16:creationId xmlns:a16="http://schemas.microsoft.com/office/drawing/2014/main" id="{B51827AC-9E0B-6940-974B-4EBE63A4BA7D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E4AC3650-BEA3-1BCE-AFC9-81FD773D51C5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C17CDB36-0B18-09A1-13EC-88591451156F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EB4A2041-3379-CE56-C0D3-CF7A0CDBF8E7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B54BFA95-F79B-3B20-D0D6-3DAB2577E71C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utter space">
              <a:extLst>
                <a:ext uri="{FF2B5EF4-FFF2-40B4-BE49-F238E27FC236}">
                  <a16:creationId xmlns:a16="http://schemas.microsoft.com/office/drawing/2014/main" id="{9ED27C04-D9A2-3A13-2DB6-DCFA7F7BBCBA}"/>
                </a:ext>
              </a:extLst>
            </p:cNvPr>
            <p:cNvGrpSpPr/>
            <p:nvPr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22" name="Rectangle 34">
                <a:extLst>
                  <a:ext uri="{FF2B5EF4-FFF2-40B4-BE49-F238E27FC236}">
                    <a16:creationId xmlns:a16="http://schemas.microsoft.com/office/drawing/2014/main" id="{726A4DDE-EBBE-3755-BA4C-1A24309BDE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35">
                <a:extLst>
                  <a:ext uri="{FF2B5EF4-FFF2-40B4-BE49-F238E27FC236}">
                    <a16:creationId xmlns:a16="http://schemas.microsoft.com/office/drawing/2014/main" id="{DCBECB5C-B4CE-E5C9-3F85-4646640B8D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Rectangle 36">
                <a:extLst>
                  <a:ext uri="{FF2B5EF4-FFF2-40B4-BE49-F238E27FC236}">
                    <a16:creationId xmlns:a16="http://schemas.microsoft.com/office/drawing/2014/main" id="{54F55A0E-037D-CB0A-54C1-717D453C76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37">
                <a:extLst>
                  <a:ext uri="{FF2B5EF4-FFF2-40B4-BE49-F238E27FC236}">
                    <a16:creationId xmlns:a16="http://schemas.microsoft.com/office/drawing/2014/main" id="{4933C517-D6C6-8830-BC9D-8899835260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38">
                <a:extLst>
                  <a:ext uri="{FF2B5EF4-FFF2-40B4-BE49-F238E27FC236}">
                    <a16:creationId xmlns:a16="http://schemas.microsoft.com/office/drawing/2014/main" id="{6B05CE80-F93A-6646-2829-B291B9B83E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39">
                <a:extLst>
                  <a:ext uri="{FF2B5EF4-FFF2-40B4-BE49-F238E27FC236}">
                    <a16:creationId xmlns:a16="http://schemas.microsoft.com/office/drawing/2014/main" id="{3DF238A4-0F79-E7E2-9D1D-D2F13FB087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Rectangle 40">
                <a:extLst>
                  <a:ext uri="{FF2B5EF4-FFF2-40B4-BE49-F238E27FC236}">
                    <a16:creationId xmlns:a16="http://schemas.microsoft.com/office/drawing/2014/main" id="{9D6826B8-CF78-152C-A7D5-DE7829D3F9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41">
                <a:extLst>
                  <a:ext uri="{FF2B5EF4-FFF2-40B4-BE49-F238E27FC236}">
                    <a16:creationId xmlns:a16="http://schemas.microsoft.com/office/drawing/2014/main" id="{F7517FAB-DE97-645F-441C-94B7D18857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Rectangle 42">
                <a:extLst>
                  <a:ext uri="{FF2B5EF4-FFF2-40B4-BE49-F238E27FC236}">
                    <a16:creationId xmlns:a16="http://schemas.microsoft.com/office/drawing/2014/main" id="{5F8A117C-1212-C3D1-CD1A-9A160DD127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Rectangle 43">
                <a:extLst>
                  <a:ext uri="{FF2B5EF4-FFF2-40B4-BE49-F238E27FC236}">
                    <a16:creationId xmlns:a16="http://schemas.microsoft.com/office/drawing/2014/main" id="{B948F94B-63EC-F536-021B-3C6C6A1295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Rectangle 44">
                <a:extLst>
                  <a:ext uri="{FF2B5EF4-FFF2-40B4-BE49-F238E27FC236}">
                    <a16:creationId xmlns:a16="http://schemas.microsoft.com/office/drawing/2014/main" id="{AC771ED7-FBCF-191D-A024-4557786B7C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" name="Slide edges">
              <a:extLst>
                <a:ext uri="{FF2B5EF4-FFF2-40B4-BE49-F238E27FC236}">
                  <a16:creationId xmlns:a16="http://schemas.microsoft.com/office/drawing/2014/main" id="{5F36A3E3-0056-6398-62D1-3CB8B5DAA32A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" name="Footnote measure">
              <a:extLst>
                <a:ext uri="{FF2B5EF4-FFF2-40B4-BE49-F238E27FC236}">
                  <a16:creationId xmlns:a16="http://schemas.microsoft.com/office/drawing/2014/main" id="{5A90063C-EE3D-7BDD-E848-86EBEF5383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Whitespace measure">
              <a:extLst>
                <a:ext uri="{FF2B5EF4-FFF2-40B4-BE49-F238E27FC236}">
                  <a16:creationId xmlns:a16="http://schemas.microsoft.com/office/drawing/2014/main" id="{A2F25340-0326-CF40-F389-F217BC7A36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1" name="Five column measure">
              <a:extLst>
                <a:ext uri="{FF2B5EF4-FFF2-40B4-BE49-F238E27FC236}">
                  <a16:creationId xmlns:a16="http://schemas.microsoft.com/office/drawing/2014/main" id="{BB5D5132-47A2-7A9D-B23E-7166DB02FE71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6" name="Rectangle 5">
                <a:extLst>
                  <a:ext uri="{FF2B5EF4-FFF2-40B4-BE49-F238E27FC236}">
                    <a16:creationId xmlns:a16="http://schemas.microsoft.com/office/drawing/2014/main" id="{08714A4F-C78B-6236-EBCA-CA06345929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Rectangle 7">
                <a:extLst>
                  <a:ext uri="{FF2B5EF4-FFF2-40B4-BE49-F238E27FC236}">
                    <a16:creationId xmlns:a16="http://schemas.microsoft.com/office/drawing/2014/main" id="{C0E18199-6CCC-76B4-C0EB-1A08E10AAC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Rectangle 9">
                <a:extLst>
                  <a:ext uri="{FF2B5EF4-FFF2-40B4-BE49-F238E27FC236}">
                    <a16:creationId xmlns:a16="http://schemas.microsoft.com/office/drawing/2014/main" id="{A1402D0C-464E-F129-8911-7FE3F27162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Rectangle 11">
                <a:extLst>
                  <a:ext uri="{FF2B5EF4-FFF2-40B4-BE49-F238E27FC236}">
                    <a16:creationId xmlns:a16="http://schemas.microsoft.com/office/drawing/2014/main" id="{E486A8B1-B902-6E74-0BC3-F30EE56CB7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Rectangle 13">
                <a:extLst>
                  <a:ext uri="{FF2B5EF4-FFF2-40B4-BE49-F238E27FC236}">
                    <a16:creationId xmlns:a16="http://schemas.microsoft.com/office/drawing/2014/main" id="{BEE16A32-0AFB-2124-B3D1-210007DDF1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" name="Live area">
              <a:extLst>
                <a:ext uri="{FF2B5EF4-FFF2-40B4-BE49-F238E27FC236}">
                  <a16:creationId xmlns:a16="http://schemas.microsoft.com/office/drawing/2014/main" id="{5E86BA6E-9452-06F5-435A-BEA9E6363B7D}"/>
                </a:ext>
              </a:extLst>
            </p:cNvPr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  <p:sp>
          <p:nvSpPr>
            <p:cNvPr id="14" name="Footnote example">
              <a:extLst>
                <a:ext uri="{FF2B5EF4-FFF2-40B4-BE49-F238E27FC236}">
                  <a16:creationId xmlns:a16="http://schemas.microsoft.com/office/drawing/2014/main" id="{382FF882-8924-9352-0547-8DD7A3FD071B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41057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117" Type="http://schemas.openxmlformats.org/officeDocument/2006/relationships/tags" Target="../tags/tag2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6" Type="http://schemas.openxmlformats.org/officeDocument/2006/relationships/slideLayout" Target="../slideLayouts/slideLayout16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87" Type="http://schemas.openxmlformats.org/officeDocument/2006/relationships/slideLayout" Target="../slideLayouts/slideLayout87.xml"/><Relationship Id="rId102" Type="http://schemas.openxmlformats.org/officeDocument/2006/relationships/slideLayout" Target="../slideLayouts/slideLayout102.xml"/><Relationship Id="rId110" Type="http://schemas.openxmlformats.org/officeDocument/2006/relationships/slideLayout" Target="../slideLayouts/slideLayout110.xml"/><Relationship Id="rId115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113" Type="http://schemas.openxmlformats.org/officeDocument/2006/relationships/slideLayout" Target="../slideLayouts/slideLayout113.xml"/><Relationship Id="rId118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103" Type="http://schemas.openxmlformats.org/officeDocument/2006/relationships/slideLayout" Target="../slideLayouts/slideLayout103.xml"/><Relationship Id="rId108" Type="http://schemas.openxmlformats.org/officeDocument/2006/relationships/slideLayout" Target="../slideLayouts/slideLayout108.xml"/><Relationship Id="rId116" Type="http://schemas.openxmlformats.org/officeDocument/2006/relationships/tags" Target="../tags/tag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11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14" Type="http://schemas.openxmlformats.org/officeDocument/2006/relationships/theme" Target="../theme/theme1.xml"/><Relationship Id="rId119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6.xml"/><Relationship Id="rId18" Type="http://schemas.openxmlformats.org/officeDocument/2006/relationships/slideLayout" Target="../slideLayouts/slideLayout131.xml"/><Relationship Id="rId26" Type="http://schemas.openxmlformats.org/officeDocument/2006/relationships/slideLayout" Target="../slideLayouts/slideLayout139.xml"/><Relationship Id="rId39" Type="http://schemas.openxmlformats.org/officeDocument/2006/relationships/slideLayout" Target="../slideLayouts/slideLayout152.xml"/><Relationship Id="rId21" Type="http://schemas.openxmlformats.org/officeDocument/2006/relationships/slideLayout" Target="../slideLayouts/slideLayout134.xml"/><Relationship Id="rId34" Type="http://schemas.openxmlformats.org/officeDocument/2006/relationships/slideLayout" Target="../slideLayouts/slideLayout147.xml"/><Relationship Id="rId42" Type="http://schemas.openxmlformats.org/officeDocument/2006/relationships/slideLayout" Target="../slideLayouts/slideLayout155.xml"/><Relationship Id="rId47" Type="http://schemas.openxmlformats.org/officeDocument/2006/relationships/slideLayout" Target="../slideLayouts/slideLayout160.xml"/><Relationship Id="rId50" Type="http://schemas.openxmlformats.org/officeDocument/2006/relationships/slideLayout" Target="../slideLayouts/slideLayout163.xml"/><Relationship Id="rId55" Type="http://schemas.openxmlformats.org/officeDocument/2006/relationships/slideLayout" Target="../slideLayouts/slideLayout168.xml"/><Relationship Id="rId63" Type="http://schemas.openxmlformats.org/officeDocument/2006/relationships/slideLayout" Target="../slideLayouts/slideLayout176.xml"/><Relationship Id="rId68" Type="http://schemas.openxmlformats.org/officeDocument/2006/relationships/theme" Target="../theme/theme2.xml"/><Relationship Id="rId7" Type="http://schemas.openxmlformats.org/officeDocument/2006/relationships/slideLayout" Target="../slideLayouts/slideLayout120.xml"/><Relationship Id="rId71" Type="http://schemas.openxmlformats.org/officeDocument/2006/relationships/tags" Target="../tags/tag136.xml"/><Relationship Id="rId2" Type="http://schemas.openxmlformats.org/officeDocument/2006/relationships/slideLayout" Target="../slideLayouts/slideLayout115.xml"/><Relationship Id="rId16" Type="http://schemas.openxmlformats.org/officeDocument/2006/relationships/slideLayout" Target="../slideLayouts/slideLayout129.xml"/><Relationship Id="rId29" Type="http://schemas.openxmlformats.org/officeDocument/2006/relationships/slideLayout" Target="../slideLayouts/slideLayout142.xml"/><Relationship Id="rId11" Type="http://schemas.openxmlformats.org/officeDocument/2006/relationships/slideLayout" Target="../slideLayouts/slideLayout124.xml"/><Relationship Id="rId24" Type="http://schemas.openxmlformats.org/officeDocument/2006/relationships/slideLayout" Target="../slideLayouts/slideLayout137.xml"/><Relationship Id="rId32" Type="http://schemas.openxmlformats.org/officeDocument/2006/relationships/slideLayout" Target="../slideLayouts/slideLayout145.xml"/><Relationship Id="rId37" Type="http://schemas.openxmlformats.org/officeDocument/2006/relationships/slideLayout" Target="../slideLayouts/slideLayout150.xml"/><Relationship Id="rId40" Type="http://schemas.openxmlformats.org/officeDocument/2006/relationships/slideLayout" Target="../slideLayouts/slideLayout153.xml"/><Relationship Id="rId45" Type="http://schemas.openxmlformats.org/officeDocument/2006/relationships/slideLayout" Target="../slideLayouts/slideLayout158.xml"/><Relationship Id="rId53" Type="http://schemas.openxmlformats.org/officeDocument/2006/relationships/slideLayout" Target="../slideLayouts/slideLayout166.xml"/><Relationship Id="rId58" Type="http://schemas.openxmlformats.org/officeDocument/2006/relationships/slideLayout" Target="../slideLayouts/slideLayout171.xml"/><Relationship Id="rId66" Type="http://schemas.openxmlformats.org/officeDocument/2006/relationships/slideLayout" Target="../slideLayouts/slideLayout179.xml"/><Relationship Id="rId5" Type="http://schemas.openxmlformats.org/officeDocument/2006/relationships/slideLayout" Target="../slideLayouts/slideLayout118.xml"/><Relationship Id="rId15" Type="http://schemas.openxmlformats.org/officeDocument/2006/relationships/slideLayout" Target="../slideLayouts/slideLayout128.xml"/><Relationship Id="rId23" Type="http://schemas.openxmlformats.org/officeDocument/2006/relationships/slideLayout" Target="../slideLayouts/slideLayout136.xml"/><Relationship Id="rId28" Type="http://schemas.openxmlformats.org/officeDocument/2006/relationships/slideLayout" Target="../slideLayouts/slideLayout141.xml"/><Relationship Id="rId36" Type="http://schemas.openxmlformats.org/officeDocument/2006/relationships/slideLayout" Target="../slideLayouts/slideLayout149.xml"/><Relationship Id="rId49" Type="http://schemas.openxmlformats.org/officeDocument/2006/relationships/slideLayout" Target="../slideLayouts/slideLayout162.xml"/><Relationship Id="rId57" Type="http://schemas.openxmlformats.org/officeDocument/2006/relationships/slideLayout" Target="../slideLayouts/slideLayout170.xml"/><Relationship Id="rId61" Type="http://schemas.openxmlformats.org/officeDocument/2006/relationships/slideLayout" Target="../slideLayouts/slideLayout174.xml"/><Relationship Id="rId10" Type="http://schemas.openxmlformats.org/officeDocument/2006/relationships/slideLayout" Target="../slideLayouts/slideLayout123.xml"/><Relationship Id="rId19" Type="http://schemas.openxmlformats.org/officeDocument/2006/relationships/slideLayout" Target="../slideLayouts/slideLayout132.xml"/><Relationship Id="rId31" Type="http://schemas.openxmlformats.org/officeDocument/2006/relationships/slideLayout" Target="../slideLayouts/slideLayout144.xml"/><Relationship Id="rId44" Type="http://schemas.openxmlformats.org/officeDocument/2006/relationships/slideLayout" Target="../slideLayouts/slideLayout157.xml"/><Relationship Id="rId52" Type="http://schemas.openxmlformats.org/officeDocument/2006/relationships/slideLayout" Target="../slideLayouts/slideLayout165.xml"/><Relationship Id="rId60" Type="http://schemas.openxmlformats.org/officeDocument/2006/relationships/slideLayout" Target="../slideLayouts/slideLayout173.xml"/><Relationship Id="rId65" Type="http://schemas.openxmlformats.org/officeDocument/2006/relationships/slideLayout" Target="../slideLayouts/slideLayout178.xml"/><Relationship Id="rId73" Type="http://schemas.openxmlformats.org/officeDocument/2006/relationships/image" Target="../media/image1.emf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Relationship Id="rId14" Type="http://schemas.openxmlformats.org/officeDocument/2006/relationships/slideLayout" Target="../slideLayouts/slideLayout127.xml"/><Relationship Id="rId22" Type="http://schemas.openxmlformats.org/officeDocument/2006/relationships/slideLayout" Target="../slideLayouts/slideLayout135.xml"/><Relationship Id="rId27" Type="http://schemas.openxmlformats.org/officeDocument/2006/relationships/slideLayout" Target="../slideLayouts/slideLayout140.xml"/><Relationship Id="rId30" Type="http://schemas.openxmlformats.org/officeDocument/2006/relationships/slideLayout" Target="../slideLayouts/slideLayout143.xml"/><Relationship Id="rId35" Type="http://schemas.openxmlformats.org/officeDocument/2006/relationships/slideLayout" Target="../slideLayouts/slideLayout148.xml"/><Relationship Id="rId43" Type="http://schemas.openxmlformats.org/officeDocument/2006/relationships/slideLayout" Target="../slideLayouts/slideLayout156.xml"/><Relationship Id="rId48" Type="http://schemas.openxmlformats.org/officeDocument/2006/relationships/slideLayout" Target="../slideLayouts/slideLayout161.xml"/><Relationship Id="rId56" Type="http://schemas.openxmlformats.org/officeDocument/2006/relationships/slideLayout" Target="../slideLayouts/slideLayout169.xml"/><Relationship Id="rId64" Type="http://schemas.openxmlformats.org/officeDocument/2006/relationships/slideLayout" Target="../slideLayouts/slideLayout177.xml"/><Relationship Id="rId69" Type="http://schemas.openxmlformats.org/officeDocument/2006/relationships/vmlDrawing" Target="../drawings/vmlDrawing65.vml"/><Relationship Id="rId8" Type="http://schemas.openxmlformats.org/officeDocument/2006/relationships/slideLayout" Target="../slideLayouts/slideLayout121.xml"/><Relationship Id="rId51" Type="http://schemas.openxmlformats.org/officeDocument/2006/relationships/slideLayout" Target="../slideLayouts/slideLayout164.xml"/><Relationship Id="rId72" Type="http://schemas.openxmlformats.org/officeDocument/2006/relationships/oleObject" Target="../embeddings/oleObject65.bin"/><Relationship Id="rId3" Type="http://schemas.openxmlformats.org/officeDocument/2006/relationships/slideLayout" Target="../slideLayouts/slideLayout116.xml"/><Relationship Id="rId12" Type="http://schemas.openxmlformats.org/officeDocument/2006/relationships/slideLayout" Target="../slideLayouts/slideLayout125.xml"/><Relationship Id="rId17" Type="http://schemas.openxmlformats.org/officeDocument/2006/relationships/slideLayout" Target="../slideLayouts/slideLayout130.xml"/><Relationship Id="rId25" Type="http://schemas.openxmlformats.org/officeDocument/2006/relationships/slideLayout" Target="../slideLayouts/slideLayout138.xml"/><Relationship Id="rId33" Type="http://schemas.openxmlformats.org/officeDocument/2006/relationships/slideLayout" Target="../slideLayouts/slideLayout146.xml"/><Relationship Id="rId38" Type="http://schemas.openxmlformats.org/officeDocument/2006/relationships/slideLayout" Target="../slideLayouts/slideLayout151.xml"/><Relationship Id="rId46" Type="http://schemas.openxmlformats.org/officeDocument/2006/relationships/slideLayout" Target="../slideLayouts/slideLayout159.xml"/><Relationship Id="rId59" Type="http://schemas.openxmlformats.org/officeDocument/2006/relationships/slideLayout" Target="../slideLayouts/slideLayout172.xml"/><Relationship Id="rId67" Type="http://schemas.openxmlformats.org/officeDocument/2006/relationships/slideLayout" Target="../slideLayouts/slideLayout180.xml"/><Relationship Id="rId20" Type="http://schemas.openxmlformats.org/officeDocument/2006/relationships/slideLayout" Target="../slideLayouts/slideLayout133.xml"/><Relationship Id="rId41" Type="http://schemas.openxmlformats.org/officeDocument/2006/relationships/slideLayout" Target="../slideLayouts/slideLayout154.xml"/><Relationship Id="rId54" Type="http://schemas.openxmlformats.org/officeDocument/2006/relationships/slideLayout" Target="../slideLayouts/slideLayout167.xml"/><Relationship Id="rId62" Type="http://schemas.openxmlformats.org/officeDocument/2006/relationships/slideLayout" Target="../slideLayouts/slideLayout175.xml"/><Relationship Id="rId70" Type="http://schemas.openxmlformats.org/officeDocument/2006/relationships/tags" Target="../tags/tag135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3.xml"/><Relationship Id="rId18" Type="http://schemas.openxmlformats.org/officeDocument/2006/relationships/slideLayout" Target="../slideLayouts/slideLayout198.xml"/><Relationship Id="rId26" Type="http://schemas.openxmlformats.org/officeDocument/2006/relationships/slideLayout" Target="../slideLayouts/slideLayout206.xml"/><Relationship Id="rId39" Type="http://schemas.openxmlformats.org/officeDocument/2006/relationships/slideLayout" Target="../slideLayouts/slideLayout219.xml"/><Relationship Id="rId21" Type="http://schemas.openxmlformats.org/officeDocument/2006/relationships/slideLayout" Target="../slideLayouts/slideLayout201.xml"/><Relationship Id="rId34" Type="http://schemas.openxmlformats.org/officeDocument/2006/relationships/slideLayout" Target="../slideLayouts/slideLayout214.xml"/><Relationship Id="rId42" Type="http://schemas.openxmlformats.org/officeDocument/2006/relationships/slideLayout" Target="../slideLayouts/slideLayout222.xml"/><Relationship Id="rId47" Type="http://schemas.openxmlformats.org/officeDocument/2006/relationships/slideLayout" Target="../slideLayouts/slideLayout227.xml"/><Relationship Id="rId50" Type="http://schemas.openxmlformats.org/officeDocument/2006/relationships/slideLayout" Target="../slideLayouts/slideLayout230.xml"/><Relationship Id="rId55" Type="http://schemas.openxmlformats.org/officeDocument/2006/relationships/slideLayout" Target="../slideLayouts/slideLayout235.xml"/><Relationship Id="rId63" Type="http://schemas.openxmlformats.org/officeDocument/2006/relationships/slideLayout" Target="../slideLayouts/slideLayout243.xml"/><Relationship Id="rId68" Type="http://schemas.openxmlformats.org/officeDocument/2006/relationships/slideLayout" Target="../slideLayouts/slideLayout248.xml"/><Relationship Id="rId7" Type="http://schemas.openxmlformats.org/officeDocument/2006/relationships/slideLayout" Target="../slideLayouts/slideLayout187.xml"/><Relationship Id="rId71" Type="http://schemas.openxmlformats.org/officeDocument/2006/relationships/theme" Target="../theme/theme3.xml"/><Relationship Id="rId2" Type="http://schemas.openxmlformats.org/officeDocument/2006/relationships/slideLayout" Target="../slideLayouts/slideLayout182.xml"/><Relationship Id="rId16" Type="http://schemas.openxmlformats.org/officeDocument/2006/relationships/slideLayout" Target="../slideLayouts/slideLayout196.xml"/><Relationship Id="rId29" Type="http://schemas.openxmlformats.org/officeDocument/2006/relationships/slideLayout" Target="../slideLayouts/slideLayout209.xml"/><Relationship Id="rId11" Type="http://schemas.openxmlformats.org/officeDocument/2006/relationships/slideLayout" Target="../slideLayouts/slideLayout191.xml"/><Relationship Id="rId24" Type="http://schemas.openxmlformats.org/officeDocument/2006/relationships/slideLayout" Target="../slideLayouts/slideLayout204.xml"/><Relationship Id="rId32" Type="http://schemas.openxmlformats.org/officeDocument/2006/relationships/slideLayout" Target="../slideLayouts/slideLayout212.xml"/><Relationship Id="rId37" Type="http://schemas.openxmlformats.org/officeDocument/2006/relationships/slideLayout" Target="../slideLayouts/slideLayout217.xml"/><Relationship Id="rId40" Type="http://schemas.openxmlformats.org/officeDocument/2006/relationships/slideLayout" Target="../slideLayouts/slideLayout220.xml"/><Relationship Id="rId45" Type="http://schemas.openxmlformats.org/officeDocument/2006/relationships/slideLayout" Target="../slideLayouts/slideLayout225.xml"/><Relationship Id="rId53" Type="http://schemas.openxmlformats.org/officeDocument/2006/relationships/slideLayout" Target="../slideLayouts/slideLayout233.xml"/><Relationship Id="rId58" Type="http://schemas.openxmlformats.org/officeDocument/2006/relationships/slideLayout" Target="../slideLayouts/slideLayout238.xml"/><Relationship Id="rId66" Type="http://schemas.openxmlformats.org/officeDocument/2006/relationships/slideLayout" Target="../slideLayouts/slideLayout246.xml"/><Relationship Id="rId74" Type="http://schemas.openxmlformats.org/officeDocument/2006/relationships/oleObject" Target="../embeddings/oleObject83.bin"/><Relationship Id="rId5" Type="http://schemas.openxmlformats.org/officeDocument/2006/relationships/slideLayout" Target="../slideLayouts/slideLayout185.xml"/><Relationship Id="rId15" Type="http://schemas.openxmlformats.org/officeDocument/2006/relationships/slideLayout" Target="../slideLayouts/slideLayout195.xml"/><Relationship Id="rId23" Type="http://schemas.openxmlformats.org/officeDocument/2006/relationships/slideLayout" Target="../slideLayouts/slideLayout203.xml"/><Relationship Id="rId28" Type="http://schemas.openxmlformats.org/officeDocument/2006/relationships/slideLayout" Target="../slideLayouts/slideLayout208.xml"/><Relationship Id="rId36" Type="http://schemas.openxmlformats.org/officeDocument/2006/relationships/slideLayout" Target="../slideLayouts/slideLayout216.xml"/><Relationship Id="rId49" Type="http://schemas.openxmlformats.org/officeDocument/2006/relationships/slideLayout" Target="../slideLayouts/slideLayout229.xml"/><Relationship Id="rId57" Type="http://schemas.openxmlformats.org/officeDocument/2006/relationships/slideLayout" Target="../slideLayouts/slideLayout237.xml"/><Relationship Id="rId61" Type="http://schemas.openxmlformats.org/officeDocument/2006/relationships/slideLayout" Target="../slideLayouts/slideLayout241.xml"/><Relationship Id="rId10" Type="http://schemas.openxmlformats.org/officeDocument/2006/relationships/slideLayout" Target="../slideLayouts/slideLayout190.xml"/><Relationship Id="rId19" Type="http://schemas.openxmlformats.org/officeDocument/2006/relationships/slideLayout" Target="../slideLayouts/slideLayout199.xml"/><Relationship Id="rId31" Type="http://schemas.openxmlformats.org/officeDocument/2006/relationships/slideLayout" Target="../slideLayouts/slideLayout211.xml"/><Relationship Id="rId44" Type="http://schemas.openxmlformats.org/officeDocument/2006/relationships/slideLayout" Target="../slideLayouts/slideLayout224.xml"/><Relationship Id="rId52" Type="http://schemas.openxmlformats.org/officeDocument/2006/relationships/slideLayout" Target="../slideLayouts/slideLayout232.xml"/><Relationship Id="rId60" Type="http://schemas.openxmlformats.org/officeDocument/2006/relationships/slideLayout" Target="../slideLayouts/slideLayout240.xml"/><Relationship Id="rId65" Type="http://schemas.openxmlformats.org/officeDocument/2006/relationships/slideLayout" Target="../slideLayouts/slideLayout245.xml"/><Relationship Id="rId73" Type="http://schemas.openxmlformats.org/officeDocument/2006/relationships/tags" Target="../tags/tag158.xml"/><Relationship Id="rId4" Type="http://schemas.openxmlformats.org/officeDocument/2006/relationships/slideLayout" Target="../slideLayouts/slideLayout184.xml"/><Relationship Id="rId9" Type="http://schemas.openxmlformats.org/officeDocument/2006/relationships/slideLayout" Target="../slideLayouts/slideLayout189.xml"/><Relationship Id="rId14" Type="http://schemas.openxmlformats.org/officeDocument/2006/relationships/slideLayout" Target="../slideLayouts/slideLayout194.xml"/><Relationship Id="rId22" Type="http://schemas.openxmlformats.org/officeDocument/2006/relationships/slideLayout" Target="../slideLayouts/slideLayout202.xml"/><Relationship Id="rId27" Type="http://schemas.openxmlformats.org/officeDocument/2006/relationships/slideLayout" Target="../slideLayouts/slideLayout207.xml"/><Relationship Id="rId30" Type="http://schemas.openxmlformats.org/officeDocument/2006/relationships/slideLayout" Target="../slideLayouts/slideLayout210.xml"/><Relationship Id="rId35" Type="http://schemas.openxmlformats.org/officeDocument/2006/relationships/slideLayout" Target="../slideLayouts/slideLayout215.xml"/><Relationship Id="rId43" Type="http://schemas.openxmlformats.org/officeDocument/2006/relationships/slideLayout" Target="../slideLayouts/slideLayout223.xml"/><Relationship Id="rId48" Type="http://schemas.openxmlformats.org/officeDocument/2006/relationships/slideLayout" Target="../slideLayouts/slideLayout228.xml"/><Relationship Id="rId56" Type="http://schemas.openxmlformats.org/officeDocument/2006/relationships/slideLayout" Target="../slideLayouts/slideLayout236.xml"/><Relationship Id="rId64" Type="http://schemas.openxmlformats.org/officeDocument/2006/relationships/slideLayout" Target="../slideLayouts/slideLayout244.xml"/><Relationship Id="rId69" Type="http://schemas.openxmlformats.org/officeDocument/2006/relationships/slideLayout" Target="../slideLayouts/slideLayout249.xml"/><Relationship Id="rId8" Type="http://schemas.openxmlformats.org/officeDocument/2006/relationships/slideLayout" Target="../slideLayouts/slideLayout188.xml"/><Relationship Id="rId51" Type="http://schemas.openxmlformats.org/officeDocument/2006/relationships/slideLayout" Target="../slideLayouts/slideLayout231.xml"/><Relationship Id="rId72" Type="http://schemas.openxmlformats.org/officeDocument/2006/relationships/vmlDrawing" Target="../drawings/vmlDrawing83.vml"/><Relationship Id="rId3" Type="http://schemas.openxmlformats.org/officeDocument/2006/relationships/slideLayout" Target="../slideLayouts/slideLayout183.xml"/><Relationship Id="rId12" Type="http://schemas.openxmlformats.org/officeDocument/2006/relationships/slideLayout" Target="../slideLayouts/slideLayout192.xml"/><Relationship Id="rId17" Type="http://schemas.openxmlformats.org/officeDocument/2006/relationships/slideLayout" Target="../slideLayouts/slideLayout197.xml"/><Relationship Id="rId25" Type="http://schemas.openxmlformats.org/officeDocument/2006/relationships/slideLayout" Target="../slideLayouts/slideLayout205.xml"/><Relationship Id="rId33" Type="http://schemas.openxmlformats.org/officeDocument/2006/relationships/slideLayout" Target="../slideLayouts/slideLayout213.xml"/><Relationship Id="rId38" Type="http://schemas.openxmlformats.org/officeDocument/2006/relationships/slideLayout" Target="../slideLayouts/slideLayout218.xml"/><Relationship Id="rId46" Type="http://schemas.openxmlformats.org/officeDocument/2006/relationships/slideLayout" Target="../slideLayouts/slideLayout226.xml"/><Relationship Id="rId59" Type="http://schemas.openxmlformats.org/officeDocument/2006/relationships/slideLayout" Target="../slideLayouts/slideLayout239.xml"/><Relationship Id="rId67" Type="http://schemas.openxmlformats.org/officeDocument/2006/relationships/slideLayout" Target="../slideLayouts/slideLayout247.xml"/><Relationship Id="rId20" Type="http://schemas.openxmlformats.org/officeDocument/2006/relationships/slideLayout" Target="../slideLayouts/slideLayout200.xml"/><Relationship Id="rId41" Type="http://schemas.openxmlformats.org/officeDocument/2006/relationships/slideLayout" Target="../slideLayouts/slideLayout221.xml"/><Relationship Id="rId54" Type="http://schemas.openxmlformats.org/officeDocument/2006/relationships/slideLayout" Target="../slideLayouts/slideLayout234.xml"/><Relationship Id="rId62" Type="http://schemas.openxmlformats.org/officeDocument/2006/relationships/slideLayout" Target="../slideLayouts/slideLayout242.xml"/><Relationship Id="rId70" Type="http://schemas.openxmlformats.org/officeDocument/2006/relationships/slideLayout" Target="../slideLayouts/slideLayout250.xml"/><Relationship Id="rId75" Type="http://schemas.openxmlformats.org/officeDocument/2006/relationships/image" Target="../media/image1.emf"/><Relationship Id="rId1" Type="http://schemas.openxmlformats.org/officeDocument/2006/relationships/slideLayout" Target="../slideLayouts/slideLayout181.xml"/><Relationship Id="rId6" Type="http://schemas.openxmlformats.org/officeDocument/2006/relationships/slideLayout" Target="../slideLayouts/slideLayout186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63.xml"/><Relationship Id="rId18" Type="http://schemas.openxmlformats.org/officeDocument/2006/relationships/slideLayout" Target="../slideLayouts/slideLayout268.xml"/><Relationship Id="rId26" Type="http://schemas.openxmlformats.org/officeDocument/2006/relationships/slideLayout" Target="../slideLayouts/slideLayout276.xml"/><Relationship Id="rId39" Type="http://schemas.openxmlformats.org/officeDocument/2006/relationships/slideLayout" Target="../slideLayouts/slideLayout289.xml"/><Relationship Id="rId21" Type="http://schemas.openxmlformats.org/officeDocument/2006/relationships/slideLayout" Target="../slideLayouts/slideLayout271.xml"/><Relationship Id="rId34" Type="http://schemas.openxmlformats.org/officeDocument/2006/relationships/slideLayout" Target="../slideLayouts/slideLayout284.xml"/><Relationship Id="rId42" Type="http://schemas.openxmlformats.org/officeDocument/2006/relationships/slideLayout" Target="../slideLayouts/slideLayout292.xml"/><Relationship Id="rId47" Type="http://schemas.openxmlformats.org/officeDocument/2006/relationships/slideLayout" Target="../slideLayouts/slideLayout297.xml"/><Relationship Id="rId50" Type="http://schemas.openxmlformats.org/officeDocument/2006/relationships/slideLayout" Target="../slideLayouts/slideLayout300.xml"/><Relationship Id="rId55" Type="http://schemas.openxmlformats.org/officeDocument/2006/relationships/slideLayout" Target="../slideLayouts/slideLayout305.xml"/><Relationship Id="rId63" Type="http://schemas.openxmlformats.org/officeDocument/2006/relationships/slideLayout" Target="../slideLayouts/slideLayout313.xml"/><Relationship Id="rId68" Type="http://schemas.openxmlformats.org/officeDocument/2006/relationships/slideLayout" Target="../slideLayouts/slideLayout318.xml"/><Relationship Id="rId7" Type="http://schemas.openxmlformats.org/officeDocument/2006/relationships/slideLayout" Target="../slideLayouts/slideLayout257.xml"/><Relationship Id="rId71" Type="http://schemas.openxmlformats.org/officeDocument/2006/relationships/theme" Target="../theme/theme4.xml"/><Relationship Id="rId2" Type="http://schemas.openxmlformats.org/officeDocument/2006/relationships/slideLayout" Target="../slideLayouts/slideLayout252.xml"/><Relationship Id="rId16" Type="http://schemas.openxmlformats.org/officeDocument/2006/relationships/slideLayout" Target="../slideLayouts/slideLayout266.xml"/><Relationship Id="rId29" Type="http://schemas.openxmlformats.org/officeDocument/2006/relationships/slideLayout" Target="../slideLayouts/slideLayout279.xml"/><Relationship Id="rId11" Type="http://schemas.openxmlformats.org/officeDocument/2006/relationships/slideLayout" Target="../slideLayouts/slideLayout261.xml"/><Relationship Id="rId24" Type="http://schemas.openxmlformats.org/officeDocument/2006/relationships/slideLayout" Target="../slideLayouts/slideLayout274.xml"/><Relationship Id="rId32" Type="http://schemas.openxmlformats.org/officeDocument/2006/relationships/slideLayout" Target="../slideLayouts/slideLayout282.xml"/><Relationship Id="rId37" Type="http://schemas.openxmlformats.org/officeDocument/2006/relationships/slideLayout" Target="../slideLayouts/slideLayout287.xml"/><Relationship Id="rId40" Type="http://schemas.openxmlformats.org/officeDocument/2006/relationships/slideLayout" Target="../slideLayouts/slideLayout290.xml"/><Relationship Id="rId45" Type="http://schemas.openxmlformats.org/officeDocument/2006/relationships/slideLayout" Target="../slideLayouts/slideLayout295.xml"/><Relationship Id="rId53" Type="http://schemas.openxmlformats.org/officeDocument/2006/relationships/slideLayout" Target="../slideLayouts/slideLayout303.xml"/><Relationship Id="rId58" Type="http://schemas.openxmlformats.org/officeDocument/2006/relationships/slideLayout" Target="../slideLayouts/slideLayout308.xml"/><Relationship Id="rId66" Type="http://schemas.openxmlformats.org/officeDocument/2006/relationships/slideLayout" Target="../slideLayouts/slideLayout316.xml"/><Relationship Id="rId74" Type="http://schemas.openxmlformats.org/officeDocument/2006/relationships/oleObject" Target="../embeddings/oleObject130.bin"/><Relationship Id="rId5" Type="http://schemas.openxmlformats.org/officeDocument/2006/relationships/slideLayout" Target="../slideLayouts/slideLayout255.xml"/><Relationship Id="rId15" Type="http://schemas.openxmlformats.org/officeDocument/2006/relationships/slideLayout" Target="../slideLayouts/slideLayout265.xml"/><Relationship Id="rId23" Type="http://schemas.openxmlformats.org/officeDocument/2006/relationships/slideLayout" Target="../slideLayouts/slideLayout273.xml"/><Relationship Id="rId28" Type="http://schemas.openxmlformats.org/officeDocument/2006/relationships/slideLayout" Target="../slideLayouts/slideLayout278.xml"/><Relationship Id="rId36" Type="http://schemas.openxmlformats.org/officeDocument/2006/relationships/slideLayout" Target="../slideLayouts/slideLayout286.xml"/><Relationship Id="rId49" Type="http://schemas.openxmlformats.org/officeDocument/2006/relationships/slideLayout" Target="../slideLayouts/slideLayout299.xml"/><Relationship Id="rId57" Type="http://schemas.openxmlformats.org/officeDocument/2006/relationships/slideLayout" Target="../slideLayouts/slideLayout307.xml"/><Relationship Id="rId61" Type="http://schemas.openxmlformats.org/officeDocument/2006/relationships/slideLayout" Target="../slideLayouts/slideLayout311.xml"/><Relationship Id="rId10" Type="http://schemas.openxmlformats.org/officeDocument/2006/relationships/slideLayout" Target="../slideLayouts/slideLayout260.xml"/><Relationship Id="rId19" Type="http://schemas.openxmlformats.org/officeDocument/2006/relationships/slideLayout" Target="../slideLayouts/slideLayout269.xml"/><Relationship Id="rId31" Type="http://schemas.openxmlformats.org/officeDocument/2006/relationships/slideLayout" Target="../slideLayouts/slideLayout281.xml"/><Relationship Id="rId44" Type="http://schemas.openxmlformats.org/officeDocument/2006/relationships/slideLayout" Target="../slideLayouts/slideLayout294.xml"/><Relationship Id="rId52" Type="http://schemas.openxmlformats.org/officeDocument/2006/relationships/slideLayout" Target="../slideLayouts/slideLayout302.xml"/><Relationship Id="rId60" Type="http://schemas.openxmlformats.org/officeDocument/2006/relationships/slideLayout" Target="../slideLayouts/slideLayout310.xml"/><Relationship Id="rId65" Type="http://schemas.openxmlformats.org/officeDocument/2006/relationships/slideLayout" Target="../slideLayouts/slideLayout315.xml"/><Relationship Id="rId73" Type="http://schemas.openxmlformats.org/officeDocument/2006/relationships/tags" Target="../tags/tag208.xml"/><Relationship Id="rId4" Type="http://schemas.openxmlformats.org/officeDocument/2006/relationships/slideLayout" Target="../slideLayouts/slideLayout254.xml"/><Relationship Id="rId9" Type="http://schemas.openxmlformats.org/officeDocument/2006/relationships/slideLayout" Target="../slideLayouts/slideLayout259.xml"/><Relationship Id="rId14" Type="http://schemas.openxmlformats.org/officeDocument/2006/relationships/slideLayout" Target="../slideLayouts/slideLayout264.xml"/><Relationship Id="rId22" Type="http://schemas.openxmlformats.org/officeDocument/2006/relationships/slideLayout" Target="../slideLayouts/slideLayout272.xml"/><Relationship Id="rId27" Type="http://schemas.openxmlformats.org/officeDocument/2006/relationships/slideLayout" Target="../slideLayouts/slideLayout277.xml"/><Relationship Id="rId30" Type="http://schemas.openxmlformats.org/officeDocument/2006/relationships/slideLayout" Target="../slideLayouts/slideLayout280.xml"/><Relationship Id="rId35" Type="http://schemas.openxmlformats.org/officeDocument/2006/relationships/slideLayout" Target="../slideLayouts/slideLayout285.xml"/><Relationship Id="rId43" Type="http://schemas.openxmlformats.org/officeDocument/2006/relationships/slideLayout" Target="../slideLayouts/slideLayout293.xml"/><Relationship Id="rId48" Type="http://schemas.openxmlformats.org/officeDocument/2006/relationships/slideLayout" Target="../slideLayouts/slideLayout298.xml"/><Relationship Id="rId56" Type="http://schemas.openxmlformats.org/officeDocument/2006/relationships/slideLayout" Target="../slideLayouts/slideLayout306.xml"/><Relationship Id="rId64" Type="http://schemas.openxmlformats.org/officeDocument/2006/relationships/slideLayout" Target="../slideLayouts/slideLayout314.xml"/><Relationship Id="rId69" Type="http://schemas.openxmlformats.org/officeDocument/2006/relationships/slideLayout" Target="../slideLayouts/slideLayout319.xml"/><Relationship Id="rId8" Type="http://schemas.openxmlformats.org/officeDocument/2006/relationships/slideLayout" Target="../slideLayouts/slideLayout258.xml"/><Relationship Id="rId51" Type="http://schemas.openxmlformats.org/officeDocument/2006/relationships/slideLayout" Target="../slideLayouts/slideLayout301.xml"/><Relationship Id="rId72" Type="http://schemas.openxmlformats.org/officeDocument/2006/relationships/vmlDrawing" Target="../drawings/vmlDrawing130.vml"/><Relationship Id="rId3" Type="http://schemas.openxmlformats.org/officeDocument/2006/relationships/slideLayout" Target="../slideLayouts/slideLayout253.xml"/><Relationship Id="rId12" Type="http://schemas.openxmlformats.org/officeDocument/2006/relationships/slideLayout" Target="../slideLayouts/slideLayout262.xml"/><Relationship Id="rId17" Type="http://schemas.openxmlformats.org/officeDocument/2006/relationships/slideLayout" Target="../slideLayouts/slideLayout267.xml"/><Relationship Id="rId25" Type="http://schemas.openxmlformats.org/officeDocument/2006/relationships/slideLayout" Target="../slideLayouts/slideLayout275.xml"/><Relationship Id="rId33" Type="http://schemas.openxmlformats.org/officeDocument/2006/relationships/slideLayout" Target="../slideLayouts/slideLayout283.xml"/><Relationship Id="rId38" Type="http://schemas.openxmlformats.org/officeDocument/2006/relationships/slideLayout" Target="../slideLayouts/slideLayout288.xml"/><Relationship Id="rId46" Type="http://schemas.openxmlformats.org/officeDocument/2006/relationships/slideLayout" Target="../slideLayouts/slideLayout296.xml"/><Relationship Id="rId59" Type="http://schemas.openxmlformats.org/officeDocument/2006/relationships/slideLayout" Target="../slideLayouts/slideLayout309.xml"/><Relationship Id="rId67" Type="http://schemas.openxmlformats.org/officeDocument/2006/relationships/slideLayout" Target="../slideLayouts/slideLayout317.xml"/><Relationship Id="rId20" Type="http://schemas.openxmlformats.org/officeDocument/2006/relationships/slideLayout" Target="../slideLayouts/slideLayout270.xml"/><Relationship Id="rId41" Type="http://schemas.openxmlformats.org/officeDocument/2006/relationships/slideLayout" Target="../slideLayouts/slideLayout291.xml"/><Relationship Id="rId54" Type="http://schemas.openxmlformats.org/officeDocument/2006/relationships/slideLayout" Target="../slideLayouts/slideLayout304.xml"/><Relationship Id="rId62" Type="http://schemas.openxmlformats.org/officeDocument/2006/relationships/slideLayout" Target="../slideLayouts/slideLayout312.xml"/><Relationship Id="rId70" Type="http://schemas.openxmlformats.org/officeDocument/2006/relationships/slideLayout" Target="../slideLayouts/slideLayout320.xml"/><Relationship Id="rId75" Type="http://schemas.openxmlformats.org/officeDocument/2006/relationships/image" Target="../media/image1.emf"/><Relationship Id="rId1" Type="http://schemas.openxmlformats.org/officeDocument/2006/relationships/slideLayout" Target="../slideLayouts/slideLayout251.xml"/><Relationship Id="rId6" Type="http://schemas.openxmlformats.org/officeDocument/2006/relationships/slideLayout" Target="../slideLayouts/slideLayout256.xml"/></Relationships>
</file>

<file path=ppt/slideMasters/_rels/slideMaster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46.xml"/><Relationship Id="rId117" Type="http://schemas.openxmlformats.org/officeDocument/2006/relationships/tags" Target="../tags/tag258.xml"/><Relationship Id="rId21" Type="http://schemas.openxmlformats.org/officeDocument/2006/relationships/slideLayout" Target="../slideLayouts/slideLayout341.xml"/><Relationship Id="rId42" Type="http://schemas.openxmlformats.org/officeDocument/2006/relationships/slideLayout" Target="../slideLayouts/slideLayout362.xml"/><Relationship Id="rId47" Type="http://schemas.openxmlformats.org/officeDocument/2006/relationships/slideLayout" Target="../slideLayouts/slideLayout367.xml"/><Relationship Id="rId63" Type="http://schemas.openxmlformats.org/officeDocument/2006/relationships/slideLayout" Target="../slideLayouts/slideLayout383.xml"/><Relationship Id="rId68" Type="http://schemas.openxmlformats.org/officeDocument/2006/relationships/slideLayout" Target="../slideLayouts/slideLayout388.xml"/><Relationship Id="rId84" Type="http://schemas.openxmlformats.org/officeDocument/2006/relationships/slideLayout" Target="../slideLayouts/slideLayout404.xml"/><Relationship Id="rId89" Type="http://schemas.openxmlformats.org/officeDocument/2006/relationships/slideLayout" Target="../slideLayouts/slideLayout409.xml"/><Relationship Id="rId112" Type="http://schemas.openxmlformats.org/officeDocument/2006/relationships/slideLayout" Target="../slideLayouts/slideLayout432.xml"/><Relationship Id="rId16" Type="http://schemas.openxmlformats.org/officeDocument/2006/relationships/slideLayout" Target="../slideLayouts/slideLayout336.xml"/><Relationship Id="rId107" Type="http://schemas.openxmlformats.org/officeDocument/2006/relationships/slideLayout" Target="../slideLayouts/slideLayout427.xml"/><Relationship Id="rId11" Type="http://schemas.openxmlformats.org/officeDocument/2006/relationships/slideLayout" Target="../slideLayouts/slideLayout331.xml"/><Relationship Id="rId24" Type="http://schemas.openxmlformats.org/officeDocument/2006/relationships/slideLayout" Target="../slideLayouts/slideLayout344.xml"/><Relationship Id="rId32" Type="http://schemas.openxmlformats.org/officeDocument/2006/relationships/slideLayout" Target="../slideLayouts/slideLayout352.xml"/><Relationship Id="rId37" Type="http://schemas.openxmlformats.org/officeDocument/2006/relationships/slideLayout" Target="../slideLayouts/slideLayout357.xml"/><Relationship Id="rId40" Type="http://schemas.openxmlformats.org/officeDocument/2006/relationships/slideLayout" Target="../slideLayouts/slideLayout360.xml"/><Relationship Id="rId45" Type="http://schemas.openxmlformats.org/officeDocument/2006/relationships/slideLayout" Target="../slideLayouts/slideLayout365.xml"/><Relationship Id="rId53" Type="http://schemas.openxmlformats.org/officeDocument/2006/relationships/slideLayout" Target="../slideLayouts/slideLayout373.xml"/><Relationship Id="rId58" Type="http://schemas.openxmlformats.org/officeDocument/2006/relationships/slideLayout" Target="../slideLayouts/slideLayout378.xml"/><Relationship Id="rId66" Type="http://schemas.openxmlformats.org/officeDocument/2006/relationships/slideLayout" Target="../slideLayouts/slideLayout386.xml"/><Relationship Id="rId74" Type="http://schemas.openxmlformats.org/officeDocument/2006/relationships/slideLayout" Target="../slideLayouts/slideLayout394.xml"/><Relationship Id="rId79" Type="http://schemas.openxmlformats.org/officeDocument/2006/relationships/slideLayout" Target="../slideLayouts/slideLayout399.xml"/><Relationship Id="rId87" Type="http://schemas.openxmlformats.org/officeDocument/2006/relationships/slideLayout" Target="../slideLayouts/slideLayout407.xml"/><Relationship Id="rId102" Type="http://schemas.openxmlformats.org/officeDocument/2006/relationships/slideLayout" Target="../slideLayouts/slideLayout422.xml"/><Relationship Id="rId110" Type="http://schemas.openxmlformats.org/officeDocument/2006/relationships/slideLayout" Target="../slideLayouts/slideLayout430.xml"/><Relationship Id="rId115" Type="http://schemas.openxmlformats.org/officeDocument/2006/relationships/theme" Target="../theme/theme5.xml"/><Relationship Id="rId5" Type="http://schemas.openxmlformats.org/officeDocument/2006/relationships/slideLayout" Target="../slideLayouts/slideLayout325.xml"/><Relationship Id="rId61" Type="http://schemas.openxmlformats.org/officeDocument/2006/relationships/slideLayout" Target="../slideLayouts/slideLayout381.xml"/><Relationship Id="rId82" Type="http://schemas.openxmlformats.org/officeDocument/2006/relationships/slideLayout" Target="../slideLayouts/slideLayout402.xml"/><Relationship Id="rId90" Type="http://schemas.openxmlformats.org/officeDocument/2006/relationships/slideLayout" Target="../slideLayouts/slideLayout410.xml"/><Relationship Id="rId95" Type="http://schemas.openxmlformats.org/officeDocument/2006/relationships/slideLayout" Target="../slideLayouts/slideLayout415.xml"/><Relationship Id="rId19" Type="http://schemas.openxmlformats.org/officeDocument/2006/relationships/slideLayout" Target="../slideLayouts/slideLayout339.xml"/><Relationship Id="rId14" Type="http://schemas.openxmlformats.org/officeDocument/2006/relationships/slideLayout" Target="../slideLayouts/slideLayout334.xml"/><Relationship Id="rId22" Type="http://schemas.openxmlformats.org/officeDocument/2006/relationships/slideLayout" Target="../slideLayouts/slideLayout342.xml"/><Relationship Id="rId27" Type="http://schemas.openxmlformats.org/officeDocument/2006/relationships/slideLayout" Target="../slideLayouts/slideLayout347.xml"/><Relationship Id="rId30" Type="http://schemas.openxmlformats.org/officeDocument/2006/relationships/slideLayout" Target="../slideLayouts/slideLayout350.xml"/><Relationship Id="rId35" Type="http://schemas.openxmlformats.org/officeDocument/2006/relationships/slideLayout" Target="../slideLayouts/slideLayout355.xml"/><Relationship Id="rId43" Type="http://schemas.openxmlformats.org/officeDocument/2006/relationships/slideLayout" Target="../slideLayouts/slideLayout363.xml"/><Relationship Id="rId48" Type="http://schemas.openxmlformats.org/officeDocument/2006/relationships/slideLayout" Target="../slideLayouts/slideLayout368.xml"/><Relationship Id="rId56" Type="http://schemas.openxmlformats.org/officeDocument/2006/relationships/slideLayout" Target="../slideLayouts/slideLayout376.xml"/><Relationship Id="rId64" Type="http://schemas.openxmlformats.org/officeDocument/2006/relationships/slideLayout" Target="../slideLayouts/slideLayout384.xml"/><Relationship Id="rId69" Type="http://schemas.openxmlformats.org/officeDocument/2006/relationships/slideLayout" Target="../slideLayouts/slideLayout389.xml"/><Relationship Id="rId77" Type="http://schemas.openxmlformats.org/officeDocument/2006/relationships/slideLayout" Target="../slideLayouts/slideLayout397.xml"/><Relationship Id="rId100" Type="http://schemas.openxmlformats.org/officeDocument/2006/relationships/slideLayout" Target="../slideLayouts/slideLayout420.xml"/><Relationship Id="rId105" Type="http://schemas.openxmlformats.org/officeDocument/2006/relationships/slideLayout" Target="../slideLayouts/slideLayout425.xml"/><Relationship Id="rId113" Type="http://schemas.openxmlformats.org/officeDocument/2006/relationships/slideLayout" Target="../slideLayouts/slideLayout433.xml"/><Relationship Id="rId118" Type="http://schemas.openxmlformats.org/officeDocument/2006/relationships/tags" Target="../tags/tag259.xml"/><Relationship Id="rId8" Type="http://schemas.openxmlformats.org/officeDocument/2006/relationships/slideLayout" Target="../slideLayouts/slideLayout328.xml"/><Relationship Id="rId51" Type="http://schemas.openxmlformats.org/officeDocument/2006/relationships/slideLayout" Target="../slideLayouts/slideLayout371.xml"/><Relationship Id="rId72" Type="http://schemas.openxmlformats.org/officeDocument/2006/relationships/slideLayout" Target="../slideLayouts/slideLayout392.xml"/><Relationship Id="rId80" Type="http://schemas.openxmlformats.org/officeDocument/2006/relationships/slideLayout" Target="../slideLayouts/slideLayout400.xml"/><Relationship Id="rId85" Type="http://schemas.openxmlformats.org/officeDocument/2006/relationships/slideLayout" Target="../slideLayouts/slideLayout405.xml"/><Relationship Id="rId93" Type="http://schemas.openxmlformats.org/officeDocument/2006/relationships/slideLayout" Target="../slideLayouts/slideLayout413.xml"/><Relationship Id="rId98" Type="http://schemas.openxmlformats.org/officeDocument/2006/relationships/slideLayout" Target="../slideLayouts/slideLayout418.xml"/><Relationship Id="rId3" Type="http://schemas.openxmlformats.org/officeDocument/2006/relationships/slideLayout" Target="../slideLayouts/slideLayout323.xml"/><Relationship Id="rId12" Type="http://schemas.openxmlformats.org/officeDocument/2006/relationships/slideLayout" Target="../slideLayouts/slideLayout332.xml"/><Relationship Id="rId17" Type="http://schemas.openxmlformats.org/officeDocument/2006/relationships/slideLayout" Target="../slideLayouts/slideLayout337.xml"/><Relationship Id="rId25" Type="http://schemas.openxmlformats.org/officeDocument/2006/relationships/slideLayout" Target="../slideLayouts/slideLayout345.xml"/><Relationship Id="rId33" Type="http://schemas.openxmlformats.org/officeDocument/2006/relationships/slideLayout" Target="../slideLayouts/slideLayout353.xml"/><Relationship Id="rId38" Type="http://schemas.openxmlformats.org/officeDocument/2006/relationships/slideLayout" Target="../slideLayouts/slideLayout358.xml"/><Relationship Id="rId46" Type="http://schemas.openxmlformats.org/officeDocument/2006/relationships/slideLayout" Target="../slideLayouts/slideLayout366.xml"/><Relationship Id="rId59" Type="http://schemas.openxmlformats.org/officeDocument/2006/relationships/slideLayout" Target="../slideLayouts/slideLayout379.xml"/><Relationship Id="rId67" Type="http://schemas.openxmlformats.org/officeDocument/2006/relationships/slideLayout" Target="../slideLayouts/slideLayout387.xml"/><Relationship Id="rId103" Type="http://schemas.openxmlformats.org/officeDocument/2006/relationships/slideLayout" Target="../slideLayouts/slideLayout423.xml"/><Relationship Id="rId108" Type="http://schemas.openxmlformats.org/officeDocument/2006/relationships/slideLayout" Target="../slideLayouts/slideLayout428.xml"/><Relationship Id="rId116" Type="http://schemas.openxmlformats.org/officeDocument/2006/relationships/vmlDrawing" Target="../drawings/vmlDrawing177.vml"/><Relationship Id="rId20" Type="http://schemas.openxmlformats.org/officeDocument/2006/relationships/slideLayout" Target="../slideLayouts/slideLayout340.xml"/><Relationship Id="rId41" Type="http://schemas.openxmlformats.org/officeDocument/2006/relationships/slideLayout" Target="../slideLayouts/slideLayout361.xml"/><Relationship Id="rId54" Type="http://schemas.openxmlformats.org/officeDocument/2006/relationships/slideLayout" Target="../slideLayouts/slideLayout374.xml"/><Relationship Id="rId62" Type="http://schemas.openxmlformats.org/officeDocument/2006/relationships/slideLayout" Target="../slideLayouts/slideLayout382.xml"/><Relationship Id="rId70" Type="http://schemas.openxmlformats.org/officeDocument/2006/relationships/slideLayout" Target="../slideLayouts/slideLayout390.xml"/><Relationship Id="rId75" Type="http://schemas.openxmlformats.org/officeDocument/2006/relationships/slideLayout" Target="../slideLayouts/slideLayout395.xml"/><Relationship Id="rId83" Type="http://schemas.openxmlformats.org/officeDocument/2006/relationships/slideLayout" Target="../slideLayouts/slideLayout403.xml"/><Relationship Id="rId88" Type="http://schemas.openxmlformats.org/officeDocument/2006/relationships/slideLayout" Target="../slideLayouts/slideLayout408.xml"/><Relationship Id="rId91" Type="http://schemas.openxmlformats.org/officeDocument/2006/relationships/slideLayout" Target="../slideLayouts/slideLayout411.xml"/><Relationship Id="rId96" Type="http://schemas.openxmlformats.org/officeDocument/2006/relationships/slideLayout" Target="../slideLayouts/slideLayout416.xml"/><Relationship Id="rId111" Type="http://schemas.openxmlformats.org/officeDocument/2006/relationships/slideLayout" Target="../slideLayouts/slideLayout431.xml"/><Relationship Id="rId1" Type="http://schemas.openxmlformats.org/officeDocument/2006/relationships/slideLayout" Target="../slideLayouts/slideLayout321.xml"/><Relationship Id="rId6" Type="http://schemas.openxmlformats.org/officeDocument/2006/relationships/slideLayout" Target="../slideLayouts/slideLayout326.xml"/><Relationship Id="rId15" Type="http://schemas.openxmlformats.org/officeDocument/2006/relationships/slideLayout" Target="../slideLayouts/slideLayout335.xml"/><Relationship Id="rId23" Type="http://schemas.openxmlformats.org/officeDocument/2006/relationships/slideLayout" Target="../slideLayouts/slideLayout343.xml"/><Relationship Id="rId28" Type="http://schemas.openxmlformats.org/officeDocument/2006/relationships/slideLayout" Target="../slideLayouts/slideLayout348.xml"/><Relationship Id="rId36" Type="http://schemas.openxmlformats.org/officeDocument/2006/relationships/slideLayout" Target="../slideLayouts/slideLayout356.xml"/><Relationship Id="rId49" Type="http://schemas.openxmlformats.org/officeDocument/2006/relationships/slideLayout" Target="../slideLayouts/slideLayout369.xml"/><Relationship Id="rId57" Type="http://schemas.openxmlformats.org/officeDocument/2006/relationships/slideLayout" Target="../slideLayouts/slideLayout377.xml"/><Relationship Id="rId106" Type="http://schemas.openxmlformats.org/officeDocument/2006/relationships/slideLayout" Target="../slideLayouts/slideLayout426.xml"/><Relationship Id="rId114" Type="http://schemas.openxmlformats.org/officeDocument/2006/relationships/slideLayout" Target="../slideLayouts/slideLayout434.xml"/><Relationship Id="rId119" Type="http://schemas.openxmlformats.org/officeDocument/2006/relationships/oleObject" Target="../embeddings/oleObject177.bin"/><Relationship Id="rId10" Type="http://schemas.openxmlformats.org/officeDocument/2006/relationships/slideLayout" Target="../slideLayouts/slideLayout330.xml"/><Relationship Id="rId31" Type="http://schemas.openxmlformats.org/officeDocument/2006/relationships/slideLayout" Target="../slideLayouts/slideLayout351.xml"/><Relationship Id="rId44" Type="http://schemas.openxmlformats.org/officeDocument/2006/relationships/slideLayout" Target="../slideLayouts/slideLayout364.xml"/><Relationship Id="rId52" Type="http://schemas.openxmlformats.org/officeDocument/2006/relationships/slideLayout" Target="../slideLayouts/slideLayout372.xml"/><Relationship Id="rId60" Type="http://schemas.openxmlformats.org/officeDocument/2006/relationships/slideLayout" Target="../slideLayouts/slideLayout380.xml"/><Relationship Id="rId65" Type="http://schemas.openxmlformats.org/officeDocument/2006/relationships/slideLayout" Target="../slideLayouts/slideLayout385.xml"/><Relationship Id="rId73" Type="http://schemas.openxmlformats.org/officeDocument/2006/relationships/slideLayout" Target="../slideLayouts/slideLayout393.xml"/><Relationship Id="rId78" Type="http://schemas.openxmlformats.org/officeDocument/2006/relationships/slideLayout" Target="../slideLayouts/slideLayout398.xml"/><Relationship Id="rId81" Type="http://schemas.openxmlformats.org/officeDocument/2006/relationships/slideLayout" Target="../slideLayouts/slideLayout401.xml"/><Relationship Id="rId86" Type="http://schemas.openxmlformats.org/officeDocument/2006/relationships/slideLayout" Target="../slideLayouts/slideLayout406.xml"/><Relationship Id="rId94" Type="http://schemas.openxmlformats.org/officeDocument/2006/relationships/slideLayout" Target="../slideLayouts/slideLayout414.xml"/><Relationship Id="rId99" Type="http://schemas.openxmlformats.org/officeDocument/2006/relationships/slideLayout" Target="../slideLayouts/slideLayout419.xml"/><Relationship Id="rId101" Type="http://schemas.openxmlformats.org/officeDocument/2006/relationships/slideLayout" Target="../slideLayouts/slideLayout421.xml"/><Relationship Id="rId4" Type="http://schemas.openxmlformats.org/officeDocument/2006/relationships/slideLayout" Target="../slideLayouts/slideLayout324.xml"/><Relationship Id="rId9" Type="http://schemas.openxmlformats.org/officeDocument/2006/relationships/slideLayout" Target="../slideLayouts/slideLayout329.xml"/><Relationship Id="rId13" Type="http://schemas.openxmlformats.org/officeDocument/2006/relationships/slideLayout" Target="../slideLayouts/slideLayout333.xml"/><Relationship Id="rId18" Type="http://schemas.openxmlformats.org/officeDocument/2006/relationships/slideLayout" Target="../slideLayouts/slideLayout338.xml"/><Relationship Id="rId39" Type="http://schemas.openxmlformats.org/officeDocument/2006/relationships/slideLayout" Target="../slideLayouts/slideLayout359.xml"/><Relationship Id="rId109" Type="http://schemas.openxmlformats.org/officeDocument/2006/relationships/slideLayout" Target="../slideLayouts/slideLayout429.xml"/><Relationship Id="rId34" Type="http://schemas.openxmlformats.org/officeDocument/2006/relationships/slideLayout" Target="../slideLayouts/slideLayout354.xml"/><Relationship Id="rId50" Type="http://schemas.openxmlformats.org/officeDocument/2006/relationships/slideLayout" Target="../slideLayouts/slideLayout370.xml"/><Relationship Id="rId55" Type="http://schemas.openxmlformats.org/officeDocument/2006/relationships/slideLayout" Target="../slideLayouts/slideLayout375.xml"/><Relationship Id="rId76" Type="http://schemas.openxmlformats.org/officeDocument/2006/relationships/slideLayout" Target="../slideLayouts/slideLayout396.xml"/><Relationship Id="rId97" Type="http://schemas.openxmlformats.org/officeDocument/2006/relationships/slideLayout" Target="../slideLayouts/slideLayout417.xml"/><Relationship Id="rId104" Type="http://schemas.openxmlformats.org/officeDocument/2006/relationships/slideLayout" Target="../slideLayouts/slideLayout424.xml"/><Relationship Id="rId120" Type="http://schemas.openxmlformats.org/officeDocument/2006/relationships/image" Target="../media/image1.emf"/><Relationship Id="rId7" Type="http://schemas.openxmlformats.org/officeDocument/2006/relationships/slideLayout" Target="../slideLayouts/slideLayout327.xml"/><Relationship Id="rId71" Type="http://schemas.openxmlformats.org/officeDocument/2006/relationships/slideLayout" Target="../slideLayouts/slideLayout391.xml"/><Relationship Id="rId92" Type="http://schemas.openxmlformats.org/officeDocument/2006/relationships/slideLayout" Target="../slideLayouts/slideLayout412.xml"/><Relationship Id="rId2" Type="http://schemas.openxmlformats.org/officeDocument/2006/relationships/slideLayout" Target="../slideLayouts/slideLayout322.xml"/><Relationship Id="rId29" Type="http://schemas.openxmlformats.org/officeDocument/2006/relationships/slideLayout" Target="../slideLayouts/slideLayout3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1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" name="think-cell Slide" r:id="rId118" imgW="270" imgH="270" progId="TCLayout.ActiveDocument.1">
                  <p:embed/>
                </p:oleObj>
              </mc:Choice>
              <mc:Fallback>
                <p:oleObj name="think-cell Slide" r:id="rId11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1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1548936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  <p:sldLayoutId id="2147483725" r:id="rId65"/>
    <p:sldLayoutId id="2147483726" r:id="rId66"/>
    <p:sldLayoutId id="2147483727" r:id="rId67"/>
    <p:sldLayoutId id="2147483728" r:id="rId68"/>
    <p:sldLayoutId id="2147483729" r:id="rId69"/>
    <p:sldLayoutId id="2147483730" r:id="rId70"/>
    <p:sldLayoutId id="2147483731" r:id="rId71"/>
    <p:sldLayoutId id="2147483732" r:id="rId72"/>
    <p:sldLayoutId id="2147483733" r:id="rId73"/>
    <p:sldLayoutId id="2147483734" r:id="rId74"/>
    <p:sldLayoutId id="2147483735" r:id="rId75"/>
    <p:sldLayoutId id="2147483736" r:id="rId76"/>
    <p:sldLayoutId id="2147483737" r:id="rId77"/>
    <p:sldLayoutId id="2147483738" r:id="rId78"/>
    <p:sldLayoutId id="2147483739" r:id="rId79"/>
    <p:sldLayoutId id="2147483740" r:id="rId80"/>
    <p:sldLayoutId id="2147483741" r:id="rId81"/>
    <p:sldLayoutId id="2147483742" r:id="rId82"/>
    <p:sldLayoutId id="2147483743" r:id="rId83"/>
    <p:sldLayoutId id="2147483744" r:id="rId84"/>
    <p:sldLayoutId id="2147483745" r:id="rId85"/>
    <p:sldLayoutId id="2147483746" r:id="rId86"/>
    <p:sldLayoutId id="2147483747" r:id="rId87"/>
    <p:sldLayoutId id="2147483748" r:id="rId88"/>
    <p:sldLayoutId id="2147483749" r:id="rId89"/>
    <p:sldLayoutId id="2147483750" r:id="rId90"/>
    <p:sldLayoutId id="2147483751" r:id="rId91"/>
    <p:sldLayoutId id="2147483752" r:id="rId92"/>
    <p:sldLayoutId id="2147483753" r:id="rId93"/>
    <p:sldLayoutId id="2147483754" r:id="rId94"/>
    <p:sldLayoutId id="2147483755" r:id="rId95"/>
    <p:sldLayoutId id="2147483756" r:id="rId96"/>
    <p:sldLayoutId id="2147483757" r:id="rId97"/>
    <p:sldLayoutId id="2147483758" r:id="rId98"/>
    <p:sldLayoutId id="2147483759" r:id="rId99"/>
    <p:sldLayoutId id="2147483760" r:id="rId100"/>
    <p:sldLayoutId id="2147483761" r:id="rId101"/>
    <p:sldLayoutId id="2147483762" r:id="rId102"/>
    <p:sldLayoutId id="2147483763" r:id="rId103"/>
    <p:sldLayoutId id="2147483764" r:id="rId104"/>
    <p:sldLayoutId id="2147483765" r:id="rId105"/>
    <p:sldLayoutId id="2147483766" r:id="rId106"/>
    <p:sldLayoutId id="2147483767" r:id="rId107"/>
    <p:sldLayoutId id="2147483768" r:id="rId108"/>
    <p:sldLayoutId id="2147483769" r:id="rId109"/>
    <p:sldLayoutId id="2147483770" r:id="rId110"/>
    <p:sldLayoutId id="2147483771" r:id="rId111"/>
    <p:sldLayoutId id="2147483772" r:id="rId112"/>
    <p:sldLayoutId id="2147483773" r:id="rId113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63" name="think-cell Slide" r:id="rId72" imgW="270" imgH="270" progId="TCLayout.ActiveDocument.1">
                  <p:embed/>
                </p:oleObj>
              </mc:Choice>
              <mc:Fallback>
                <p:oleObj name="think-cell Slide" r:id="rId7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680797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  <p:sldLayoutId id="2147483797" r:id="rId8"/>
    <p:sldLayoutId id="2147483798" r:id="rId9"/>
    <p:sldLayoutId id="2147483799" r:id="rId10"/>
    <p:sldLayoutId id="2147483800" r:id="rId11"/>
    <p:sldLayoutId id="2147483801" r:id="rId12"/>
    <p:sldLayoutId id="2147483802" r:id="rId13"/>
    <p:sldLayoutId id="2147483803" r:id="rId14"/>
    <p:sldLayoutId id="2147483804" r:id="rId15"/>
    <p:sldLayoutId id="2147483805" r:id="rId16"/>
    <p:sldLayoutId id="2147483806" r:id="rId17"/>
    <p:sldLayoutId id="2147483807" r:id="rId18"/>
    <p:sldLayoutId id="2147483808" r:id="rId19"/>
    <p:sldLayoutId id="2147483809" r:id="rId20"/>
    <p:sldLayoutId id="2147483810" r:id="rId21"/>
    <p:sldLayoutId id="2147483811" r:id="rId22"/>
    <p:sldLayoutId id="2147483812" r:id="rId23"/>
    <p:sldLayoutId id="2147483813" r:id="rId24"/>
    <p:sldLayoutId id="2147483814" r:id="rId25"/>
    <p:sldLayoutId id="2147483815" r:id="rId26"/>
    <p:sldLayoutId id="2147483816" r:id="rId27"/>
    <p:sldLayoutId id="2147483817" r:id="rId28"/>
    <p:sldLayoutId id="2147483818" r:id="rId29"/>
    <p:sldLayoutId id="2147483819" r:id="rId30"/>
    <p:sldLayoutId id="2147483820" r:id="rId31"/>
    <p:sldLayoutId id="2147483821" r:id="rId32"/>
    <p:sldLayoutId id="2147483822" r:id="rId33"/>
    <p:sldLayoutId id="2147483823" r:id="rId34"/>
    <p:sldLayoutId id="2147483824" r:id="rId35"/>
    <p:sldLayoutId id="2147483825" r:id="rId36"/>
    <p:sldLayoutId id="2147483826" r:id="rId37"/>
    <p:sldLayoutId id="2147483827" r:id="rId38"/>
    <p:sldLayoutId id="2147483828" r:id="rId39"/>
    <p:sldLayoutId id="2147483829" r:id="rId40"/>
    <p:sldLayoutId id="2147483830" r:id="rId41"/>
    <p:sldLayoutId id="2147483831" r:id="rId42"/>
    <p:sldLayoutId id="2147483832" r:id="rId43"/>
    <p:sldLayoutId id="2147483833" r:id="rId44"/>
    <p:sldLayoutId id="2147483834" r:id="rId45"/>
    <p:sldLayoutId id="2147483835" r:id="rId46"/>
    <p:sldLayoutId id="2147483836" r:id="rId47"/>
    <p:sldLayoutId id="2147483837" r:id="rId48"/>
    <p:sldLayoutId id="2147483838" r:id="rId49"/>
    <p:sldLayoutId id="2147483839" r:id="rId50"/>
    <p:sldLayoutId id="2147483840" r:id="rId51"/>
    <p:sldLayoutId id="2147483841" r:id="rId52"/>
    <p:sldLayoutId id="2147483842" r:id="rId53"/>
    <p:sldLayoutId id="2147483843" r:id="rId54"/>
    <p:sldLayoutId id="2147483844" r:id="rId55"/>
    <p:sldLayoutId id="2147483845" r:id="rId56"/>
    <p:sldLayoutId id="2147483846" r:id="rId57"/>
    <p:sldLayoutId id="2147483847" r:id="rId58"/>
    <p:sldLayoutId id="2147483848" r:id="rId59"/>
    <p:sldLayoutId id="2147483849" r:id="rId60"/>
    <p:sldLayoutId id="2147483850" r:id="rId61"/>
    <p:sldLayoutId id="2147483851" r:id="rId62"/>
    <p:sldLayoutId id="2147483852" r:id="rId63"/>
    <p:sldLayoutId id="2147483853" r:id="rId64"/>
    <p:sldLayoutId id="2147483854" r:id="rId65"/>
    <p:sldLayoutId id="2147483855" r:id="rId66"/>
    <p:sldLayoutId id="2147483856" r:id="rId6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17" name="think-cell Slide" r:id="rId74" imgW="270" imgH="270" progId="TCLayout.ActiveDocument.1">
                  <p:embed/>
                </p:oleObj>
              </mc:Choice>
              <mc:Fallback>
                <p:oleObj name="think-cell Slide" r:id="rId7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877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2952098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3859" r:id="rId2"/>
    <p:sldLayoutId id="2147483860" r:id="rId3"/>
    <p:sldLayoutId id="2147483861" r:id="rId4"/>
    <p:sldLayoutId id="2147483862" r:id="rId5"/>
    <p:sldLayoutId id="2147483863" r:id="rId6"/>
    <p:sldLayoutId id="2147483864" r:id="rId7"/>
    <p:sldLayoutId id="2147483865" r:id="rId8"/>
    <p:sldLayoutId id="2147483866" r:id="rId9"/>
    <p:sldLayoutId id="2147483867" r:id="rId10"/>
    <p:sldLayoutId id="2147483868" r:id="rId11"/>
    <p:sldLayoutId id="2147483869" r:id="rId12"/>
    <p:sldLayoutId id="2147483870" r:id="rId13"/>
    <p:sldLayoutId id="2147483871" r:id="rId14"/>
    <p:sldLayoutId id="2147483872" r:id="rId15"/>
    <p:sldLayoutId id="2147483873" r:id="rId16"/>
    <p:sldLayoutId id="2147483874" r:id="rId17"/>
    <p:sldLayoutId id="2147483875" r:id="rId18"/>
    <p:sldLayoutId id="2147483876" r:id="rId19"/>
    <p:sldLayoutId id="2147483877" r:id="rId20"/>
    <p:sldLayoutId id="2147483878" r:id="rId21"/>
    <p:sldLayoutId id="2147483879" r:id="rId22"/>
    <p:sldLayoutId id="2147483880" r:id="rId23"/>
    <p:sldLayoutId id="2147483881" r:id="rId24"/>
    <p:sldLayoutId id="2147483882" r:id="rId25"/>
    <p:sldLayoutId id="2147483883" r:id="rId26"/>
    <p:sldLayoutId id="2147483884" r:id="rId27"/>
    <p:sldLayoutId id="2147483885" r:id="rId28"/>
    <p:sldLayoutId id="2147483886" r:id="rId29"/>
    <p:sldLayoutId id="2147483887" r:id="rId30"/>
    <p:sldLayoutId id="2147483888" r:id="rId31"/>
    <p:sldLayoutId id="2147483889" r:id="rId32"/>
    <p:sldLayoutId id="2147483890" r:id="rId33"/>
    <p:sldLayoutId id="2147483891" r:id="rId34"/>
    <p:sldLayoutId id="2147483892" r:id="rId35"/>
    <p:sldLayoutId id="2147483893" r:id="rId36"/>
    <p:sldLayoutId id="2147483894" r:id="rId37"/>
    <p:sldLayoutId id="2147483895" r:id="rId38"/>
    <p:sldLayoutId id="2147483896" r:id="rId39"/>
    <p:sldLayoutId id="2147483897" r:id="rId40"/>
    <p:sldLayoutId id="2147483898" r:id="rId41"/>
    <p:sldLayoutId id="2147483899" r:id="rId42"/>
    <p:sldLayoutId id="2147483900" r:id="rId43"/>
    <p:sldLayoutId id="2147483901" r:id="rId44"/>
    <p:sldLayoutId id="2147483902" r:id="rId45"/>
    <p:sldLayoutId id="2147483903" r:id="rId46"/>
    <p:sldLayoutId id="2147483904" r:id="rId47"/>
    <p:sldLayoutId id="2147483905" r:id="rId48"/>
    <p:sldLayoutId id="2147483906" r:id="rId49"/>
    <p:sldLayoutId id="2147483907" r:id="rId50"/>
    <p:sldLayoutId id="2147483908" r:id="rId51"/>
    <p:sldLayoutId id="2147483909" r:id="rId52"/>
    <p:sldLayoutId id="2147483910" r:id="rId53"/>
    <p:sldLayoutId id="2147483911" r:id="rId54"/>
    <p:sldLayoutId id="2147483912" r:id="rId55"/>
    <p:sldLayoutId id="2147483913" r:id="rId56"/>
    <p:sldLayoutId id="2147483914" r:id="rId57"/>
    <p:sldLayoutId id="2147483915" r:id="rId58"/>
    <p:sldLayoutId id="2147483916" r:id="rId59"/>
    <p:sldLayoutId id="2147483917" r:id="rId60"/>
    <p:sldLayoutId id="2147483918" r:id="rId61"/>
    <p:sldLayoutId id="2147483919" r:id="rId62"/>
    <p:sldLayoutId id="2147483920" r:id="rId63"/>
    <p:sldLayoutId id="2147483921" r:id="rId64"/>
    <p:sldLayoutId id="2147483922" r:id="rId65"/>
    <p:sldLayoutId id="2147483923" r:id="rId66"/>
    <p:sldLayoutId id="2147483924" r:id="rId67"/>
    <p:sldLayoutId id="2147483925" r:id="rId68"/>
    <p:sldLayoutId id="2147483926" r:id="rId69"/>
    <p:sldLayoutId id="2147483927" r:id="rId70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60" name="think-cell Slide" r:id="rId74" imgW="270" imgH="270" progId="TCLayout.ActiveDocument.1">
                  <p:embed/>
                </p:oleObj>
              </mc:Choice>
              <mc:Fallback>
                <p:oleObj name="think-cell Slide" r:id="rId7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877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2543835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9" r:id="rId1"/>
    <p:sldLayoutId id="2147483930" r:id="rId2"/>
    <p:sldLayoutId id="2147483931" r:id="rId3"/>
    <p:sldLayoutId id="2147483932" r:id="rId4"/>
    <p:sldLayoutId id="2147483933" r:id="rId5"/>
    <p:sldLayoutId id="2147483934" r:id="rId6"/>
    <p:sldLayoutId id="2147483935" r:id="rId7"/>
    <p:sldLayoutId id="2147483936" r:id="rId8"/>
    <p:sldLayoutId id="2147483937" r:id="rId9"/>
    <p:sldLayoutId id="2147483938" r:id="rId10"/>
    <p:sldLayoutId id="2147483939" r:id="rId11"/>
    <p:sldLayoutId id="2147483940" r:id="rId12"/>
    <p:sldLayoutId id="2147483941" r:id="rId13"/>
    <p:sldLayoutId id="2147483942" r:id="rId14"/>
    <p:sldLayoutId id="2147483943" r:id="rId15"/>
    <p:sldLayoutId id="2147483944" r:id="rId16"/>
    <p:sldLayoutId id="2147483945" r:id="rId17"/>
    <p:sldLayoutId id="2147483946" r:id="rId18"/>
    <p:sldLayoutId id="2147483947" r:id="rId19"/>
    <p:sldLayoutId id="2147483948" r:id="rId20"/>
    <p:sldLayoutId id="2147483949" r:id="rId21"/>
    <p:sldLayoutId id="2147483950" r:id="rId22"/>
    <p:sldLayoutId id="2147483951" r:id="rId23"/>
    <p:sldLayoutId id="2147483952" r:id="rId24"/>
    <p:sldLayoutId id="2147483953" r:id="rId25"/>
    <p:sldLayoutId id="2147483954" r:id="rId26"/>
    <p:sldLayoutId id="2147483955" r:id="rId27"/>
    <p:sldLayoutId id="2147483956" r:id="rId28"/>
    <p:sldLayoutId id="2147483957" r:id="rId29"/>
    <p:sldLayoutId id="2147483958" r:id="rId30"/>
    <p:sldLayoutId id="2147483959" r:id="rId31"/>
    <p:sldLayoutId id="2147483960" r:id="rId32"/>
    <p:sldLayoutId id="2147483961" r:id="rId33"/>
    <p:sldLayoutId id="2147483962" r:id="rId34"/>
    <p:sldLayoutId id="2147483963" r:id="rId35"/>
    <p:sldLayoutId id="2147483964" r:id="rId36"/>
    <p:sldLayoutId id="2147483965" r:id="rId37"/>
    <p:sldLayoutId id="2147483966" r:id="rId38"/>
    <p:sldLayoutId id="2147483967" r:id="rId39"/>
    <p:sldLayoutId id="2147483968" r:id="rId40"/>
    <p:sldLayoutId id="2147483969" r:id="rId41"/>
    <p:sldLayoutId id="2147483970" r:id="rId42"/>
    <p:sldLayoutId id="2147483971" r:id="rId43"/>
    <p:sldLayoutId id="2147483972" r:id="rId44"/>
    <p:sldLayoutId id="2147483973" r:id="rId45"/>
    <p:sldLayoutId id="2147483974" r:id="rId46"/>
    <p:sldLayoutId id="2147483975" r:id="rId47"/>
    <p:sldLayoutId id="2147483976" r:id="rId48"/>
    <p:sldLayoutId id="2147483977" r:id="rId49"/>
    <p:sldLayoutId id="2147483978" r:id="rId50"/>
    <p:sldLayoutId id="2147483979" r:id="rId51"/>
    <p:sldLayoutId id="2147483980" r:id="rId52"/>
    <p:sldLayoutId id="2147483981" r:id="rId53"/>
    <p:sldLayoutId id="2147483982" r:id="rId54"/>
    <p:sldLayoutId id="2147483983" r:id="rId55"/>
    <p:sldLayoutId id="2147483984" r:id="rId56"/>
    <p:sldLayoutId id="2147483985" r:id="rId57"/>
    <p:sldLayoutId id="2147483986" r:id="rId58"/>
    <p:sldLayoutId id="2147483987" r:id="rId59"/>
    <p:sldLayoutId id="2147483988" r:id="rId60"/>
    <p:sldLayoutId id="2147483989" r:id="rId61"/>
    <p:sldLayoutId id="2147483990" r:id="rId62"/>
    <p:sldLayoutId id="2147483991" r:id="rId63"/>
    <p:sldLayoutId id="2147483992" r:id="rId64"/>
    <p:sldLayoutId id="2147483993" r:id="rId65"/>
    <p:sldLayoutId id="2147483994" r:id="rId66"/>
    <p:sldLayoutId id="2147483995" r:id="rId67"/>
    <p:sldLayoutId id="2147483996" r:id="rId68"/>
    <p:sldLayoutId id="2147483997" r:id="rId69"/>
    <p:sldLayoutId id="2147483998" r:id="rId70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1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72" name="think-cell Slide" r:id="rId119" imgW="270" imgH="270" progId="TCLayout.ActiveDocument.1">
                  <p:embed/>
                </p:oleObj>
              </mc:Choice>
              <mc:Fallback>
                <p:oleObj name="think-cell Slide" r:id="rId11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1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3231481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0" r:id="rId1"/>
    <p:sldLayoutId id="2147484001" r:id="rId2"/>
    <p:sldLayoutId id="2147484002" r:id="rId3"/>
    <p:sldLayoutId id="2147484003" r:id="rId4"/>
    <p:sldLayoutId id="2147484004" r:id="rId5"/>
    <p:sldLayoutId id="2147484005" r:id="rId6"/>
    <p:sldLayoutId id="2147484006" r:id="rId7"/>
    <p:sldLayoutId id="2147484007" r:id="rId8"/>
    <p:sldLayoutId id="2147484008" r:id="rId9"/>
    <p:sldLayoutId id="2147484009" r:id="rId10"/>
    <p:sldLayoutId id="2147484010" r:id="rId11"/>
    <p:sldLayoutId id="2147484011" r:id="rId12"/>
    <p:sldLayoutId id="2147484012" r:id="rId13"/>
    <p:sldLayoutId id="2147484013" r:id="rId14"/>
    <p:sldLayoutId id="2147484014" r:id="rId15"/>
    <p:sldLayoutId id="2147484015" r:id="rId16"/>
    <p:sldLayoutId id="2147484016" r:id="rId17"/>
    <p:sldLayoutId id="2147484017" r:id="rId18"/>
    <p:sldLayoutId id="2147484018" r:id="rId19"/>
    <p:sldLayoutId id="2147484019" r:id="rId20"/>
    <p:sldLayoutId id="2147484020" r:id="rId21"/>
    <p:sldLayoutId id="2147484021" r:id="rId22"/>
    <p:sldLayoutId id="2147484022" r:id="rId23"/>
    <p:sldLayoutId id="2147484023" r:id="rId24"/>
    <p:sldLayoutId id="2147484024" r:id="rId25"/>
    <p:sldLayoutId id="2147484025" r:id="rId26"/>
    <p:sldLayoutId id="2147484026" r:id="rId27"/>
    <p:sldLayoutId id="2147484027" r:id="rId28"/>
    <p:sldLayoutId id="2147484028" r:id="rId29"/>
    <p:sldLayoutId id="2147484029" r:id="rId30"/>
    <p:sldLayoutId id="2147484030" r:id="rId31"/>
    <p:sldLayoutId id="2147484031" r:id="rId32"/>
    <p:sldLayoutId id="2147484032" r:id="rId33"/>
    <p:sldLayoutId id="2147484033" r:id="rId34"/>
    <p:sldLayoutId id="2147484034" r:id="rId35"/>
    <p:sldLayoutId id="2147484035" r:id="rId36"/>
    <p:sldLayoutId id="2147484036" r:id="rId37"/>
    <p:sldLayoutId id="2147484037" r:id="rId38"/>
    <p:sldLayoutId id="2147484038" r:id="rId39"/>
    <p:sldLayoutId id="2147484039" r:id="rId40"/>
    <p:sldLayoutId id="2147484040" r:id="rId41"/>
    <p:sldLayoutId id="2147484041" r:id="rId42"/>
    <p:sldLayoutId id="2147484042" r:id="rId43"/>
    <p:sldLayoutId id="2147484043" r:id="rId44"/>
    <p:sldLayoutId id="2147484044" r:id="rId45"/>
    <p:sldLayoutId id="2147484045" r:id="rId46"/>
    <p:sldLayoutId id="2147484046" r:id="rId47"/>
    <p:sldLayoutId id="2147484047" r:id="rId48"/>
    <p:sldLayoutId id="2147484048" r:id="rId49"/>
    <p:sldLayoutId id="2147484049" r:id="rId50"/>
    <p:sldLayoutId id="2147484050" r:id="rId51"/>
    <p:sldLayoutId id="2147484051" r:id="rId52"/>
    <p:sldLayoutId id="2147484052" r:id="rId53"/>
    <p:sldLayoutId id="2147484053" r:id="rId54"/>
    <p:sldLayoutId id="2147484054" r:id="rId55"/>
    <p:sldLayoutId id="2147484055" r:id="rId56"/>
    <p:sldLayoutId id="2147484056" r:id="rId57"/>
    <p:sldLayoutId id="2147484057" r:id="rId58"/>
    <p:sldLayoutId id="2147484058" r:id="rId59"/>
    <p:sldLayoutId id="2147484059" r:id="rId60"/>
    <p:sldLayoutId id="2147484060" r:id="rId61"/>
    <p:sldLayoutId id="2147484061" r:id="rId62"/>
    <p:sldLayoutId id="2147484062" r:id="rId63"/>
    <p:sldLayoutId id="2147484063" r:id="rId64"/>
    <p:sldLayoutId id="2147484064" r:id="rId65"/>
    <p:sldLayoutId id="2147484065" r:id="rId66"/>
    <p:sldLayoutId id="2147484066" r:id="rId67"/>
    <p:sldLayoutId id="2147484067" r:id="rId68"/>
    <p:sldLayoutId id="2147484068" r:id="rId69"/>
    <p:sldLayoutId id="2147484069" r:id="rId70"/>
    <p:sldLayoutId id="2147484070" r:id="rId71"/>
    <p:sldLayoutId id="2147484071" r:id="rId72"/>
    <p:sldLayoutId id="2147484072" r:id="rId73"/>
    <p:sldLayoutId id="2147484073" r:id="rId74"/>
    <p:sldLayoutId id="2147484074" r:id="rId75"/>
    <p:sldLayoutId id="2147484075" r:id="rId76"/>
    <p:sldLayoutId id="2147484076" r:id="rId77"/>
    <p:sldLayoutId id="2147484077" r:id="rId78"/>
    <p:sldLayoutId id="2147484078" r:id="rId79"/>
    <p:sldLayoutId id="2147484079" r:id="rId80"/>
    <p:sldLayoutId id="2147484080" r:id="rId81"/>
    <p:sldLayoutId id="2147484081" r:id="rId82"/>
    <p:sldLayoutId id="2147484082" r:id="rId83"/>
    <p:sldLayoutId id="2147484083" r:id="rId84"/>
    <p:sldLayoutId id="2147484084" r:id="rId85"/>
    <p:sldLayoutId id="2147484085" r:id="rId86"/>
    <p:sldLayoutId id="2147484086" r:id="rId87"/>
    <p:sldLayoutId id="2147484087" r:id="rId88"/>
    <p:sldLayoutId id="2147484088" r:id="rId89"/>
    <p:sldLayoutId id="2147484089" r:id="rId90"/>
    <p:sldLayoutId id="2147484090" r:id="rId91"/>
    <p:sldLayoutId id="2147484091" r:id="rId92"/>
    <p:sldLayoutId id="2147484092" r:id="rId93"/>
    <p:sldLayoutId id="2147484093" r:id="rId94"/>
    <p:sldLayoutId id="2147484094" r:id="rId95"/>
    <p:sldLayoutId id="2147484095" r:id="rId96"/>
    <p:sldLayoutId id="2147484096" r:id="rId97"/>
    <p:sldLayoutId id="2147484097" r:id="rId98"/>
    <p:sldLayoutId id="2147484098" r:id="rId99"/>
    <p:sldLayoutId id="2147484099" r:id="rId100"/>
    <p:sldLayoutId id="2147484100" r:id="rId101"/>
    <p:sldLayoutId id="2147484101" r:id="rId102"/>
    <p:sldLayoutId id="2147484102" r:id="rId103"/>
    <p:sldLayoutId id="2147484103" r:id="rId104"/>
    <p:sldLayoutId id="2147484104" r:id="rId105"/>
    <p:sldLayoutId id="2147484105" r:id="rId106"/>
    <p:sldLayoutId id="2147484106" r:id="rId107"/>
    <p:sldLayoutId id="2147484107" r:id="rId108"/>
    <p:sldLayoutId id="2147484108" r:id="rId109"/>
    <p:sldLayoutId id="2147484109" r:id="rId110"/>
    <p:sldLayoutId id="2147484110" r:id="rId111"/>
    <p:sldLayoutId id="2147484111" r:id="rId112"/>
    <p:sldLayoutId id="2147484112" r:id="rId113"/>
    <p:sldLayoutId id="2147484113" r:id="rId114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4.xml"/><Relationship Id="rId2" Type="http://schemas.openxmlformats.org/officeDocument/2006/relationships/tags" Target="../tags/tag392.xml"/><Relationship Id="rId1" Type="http://schemas.openxmlformats.org/officeDocument/2006/relationships/vmlDrawing" Target="../drawings/vmlDrawing241.vml"/><Relationship Id="rId5" Type="http://schemas.openxmlformats.org/officeDocument/2006/relationships/image" Target="../media/image38.emf"/><Relationship Id="rId4" Type="http://schemas.openxmlformats.org/officeDocument/2006/relationships/oleObject" Target="../embeddings/oleObject24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2.xml"/><Relationship Id="rId2" Type="http://schemas.openxmlformats.org/officeDocument/2006/relationships/tags" Target="../tags/tag393.xml"/><Relationship Id="rId1" Type="http://schemas.openxmlformats.org/officeDocument/2006/relationships/vmlDrawing" Target="../drawings/vmlDrawing242.vml"/><Relationship Id="rId6" Type="http://schemas.openxmlformats.org/officeDocument/2006/relationships/image" Target="../media/image40.emf"/><Relationship Id="rId5" Type="http://schemas.openxmlformats.org/officeDocument/2006/relationships/image" Target="../media/image39.emf"/><Relationship Id="rId4" Type="http://schemas.openxmlformats.org/officeDocument/2006/relationships/oleObject" Target="../embeddings/oleObject242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400.xml"/><Relationship Id="rId3" Type="http://schemas.openxmlformats.org/officeDocument/2006/relationships/tags" Target="../tags/tag395.xml"/><Relationship Id="rId7" Type="http://schemas.openxmlformats.org/officeDocument/2006/relationships/tags" Target="../tags/tag399.xml"/><Relationship Id="rId2" Type="http://schemas.openxmlformats.org/officeDocument/2006/relationships/tags" Target="../tags/tag394.xml"/><Relationship Id="rId1" Type="http://schemas.openxmlformats.org/officeDocument/2006/relationships/vmlDrawing" Target="../drawings/vmlDrawing243.vml"/><Relationship Id="rId6" Type="http://schemas.openxmlformats.org/officeDocument/2006/relationships/tags" Target="../tags/tag398.xml"/><Relationship Id="rId11" Type="http://schemas.openxmlformats.org/officeDocument/2006/relationships/image" Target="../media/image41.emf"/><Relationship Id="rId5" Type="http://schemas.openxmlformats.org/officeDocument/2006/relationships/tags" Target="../tags/tag397.xml"/><Relationship Id="rId10" Type="http://schemas.openxmlformats.org/officeDocument/2006/relationships/oleObject" Target="../embeddings/oleObject243.bin"/><Relationship Id="rId4" Type="http://schemas.openxmlformats.org/officeDocument/2006/relationships/tags" Target="../tags/tag396.xml"/><Relationship Id="rId9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40.xml"/><Relationship Id="rId6" Type="http://schemas.openxmlformats.org/officeDocument/2006/relationships/image" Target="../media/image46.png"/><Relationship Id="rId5" Type="http://schemas.openxmlformats.org/officeDocument/2006/relationships/image" Target="../media/image45.jpeg"/><Relationship Id="rId4" Type="http://schemas.openxmlformats.org/officeDocument/2006/relationships/image" Target="../media/image4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2.xml"/><Relationship Id="rId2" Type="http://schemas.openxmlformats.org/officeDocument/2006/relationships/tags" Target="../tags/tag401.xml"/><Relationship Id="rId1" Type="http://schemas.openxmlformats.org/officeDocument/2006/relationships/vmlDrawing" Target="../drawings/vmlDrawing244.vml"/><Relationship Id="rId5" Type="http://schemas.openxmlformats.org/officeDocument/2006/relationships/image" Target="../media/image47.emf"/><Relationship Id="rId4" Type="http://schemas.openxmlformats.org/officeDocument/2006/relationships/oleObject" Target="../embeddings/oleObject24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5.xml"/><Relationship Id="rId2" Type="http://schemas.openxmlformats.org/officeDocument/2006/relationships/tags" Target="../tags/tag402.xml"/><Relationship Id="rId1" Type="http://schemas.openxmlformats.org/officeDocument/2006/relationships/vmlDrawing" Target="../drawings/vmlDrawing245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45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3.xml"/><Relationship Id="rId2" Type="http://schemas.openxmlformats.org/officeDocument/2006/relationships/tags" Target="../tags/tag403.xml"/><Relationship Id="rId1" Type="http://schemas.openxmlformats.org/officeDocument/2006/relationships/vmlDrawing" Target="../drawings/vmlDrawing246.vml"/><Relationship Id="rId5" Type="http://schemas.openxmlformats.org/officeDocument/2006/relationships/image" Target="../media/image41.emf"/><Relationship Id="rId4" Type="http://schemas.openxmlformats.org/officeDocument/2006/relationships/oleObject" Target="../embeddings/oleObject24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95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Updated: 22 mar </a:t>
            </a:r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2024</a:t>
            </a:r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 smtClean="0"/>
              <a:t>NSS-Supply 2.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330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think-cell data - do not delete" hidden="1">
            <a:extLst>
              <a:ext uri="{FF2B5EF4-FFF2-40B4-BE49-F238E27FC236}">
                <a16:creationId xmlns:a16="http://schemas.microsoft.com/office/drawing/2014/main" id="{2C5E5E65-2965-C959-E004-CC4E17A5BEA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108" name="think-cell Slide" r:id="rId4" imgW="405" imgH="405" progId="TCLayout.ActiveDocument.1">
                  <p:embed/>
                </p:oleObj>
              </mc:Choice>
              <mc:Fallback>
                <p:oleObj name="think-cell Slide" r:id="rId4" imgW="405" imgH="405" progId="TCLayout.ActiveDocument.1">
                  <p:embed/>
                  <p:pic>
                    <p:nvPicPr>
                      <p:cNvPr id="5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5E5E65-2965-C959-E004-CC4E17A5BE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2627270" y="365453"/>
            <a:ext cx="8459798" cy="775597"/>
          </a:xfrm>
        </p:spPr>
        <p:txBody>
          <a:bodyPr vert="horz"/>
          <a:lstStyle/>
          <a:p>
            <a:r>
              <a:rPr lang="en-US" sz="2800" dirty="0">
                <a:solidFill>
                  <a:srgbClr val="002060"/>
                </a:solidFill>
              </a:rPr>
              <a:t>The original NSS-Supply 1.0 focused on capturing value within </a:t>
            </a:r>
            <a:r>
              <a:rPr lang="en-US" sz="2800" dirty="0" smtClean="0">
                <a:solidFill>
                  <a:srgbClr val="002060"/>
                </a:solidFill>
              </a:rPr>
              <a:t>the </a:t>
            </a:r>
            <a:r>
              <a:rPr lang="en-US" sz="2800" dirty="0">
                <a:solidFill>
                  <a:srgbClr val="002060"/>
                </a:solidFill>
              </a:rPr>
              <a:t>supply chain</a:t>
            </a:r>
            <a:endParaRPr lang="en-US" sz="2800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7251598" y="2544790"/>
            <a:ext cx="0" cy="3805645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reeform 94">
            <a:extLst>
              <a:ext uri="{FF2B5EF4-FFF2-40B4-BE49-F238E27FC236}">
                <a16:creationId xmlns:a16="http://schemas.microsoft.com/office/drawing/2014/main" id="{48F2996B-44FF-A4C4-238F-6AB3ECF5496F}"/>
              </a:ext>
            </a:extLst>
          </p:cNvPr>
          <p:cNvSpPr>
            <a:spLocks/>
          </p:cNvSpPr>
          <p:nvPr/>
        </p:nvSpPr>
        <p:spPr bwMode="gray">
          <a:xfrm>
            <a:off x="7101049" y="4278410"/>
            <a:ext cx="306171" cy="306910"/>
          </a:xfrm>
          <a:custGeom>
            <a:avLst/>
            <a:gdLst>
              <a:gd name="T0" fmla="*/ 0 w 1052"/>
              <a:gd name="T1" fmla="*/ 526 h 1052"/>
              <a:gd name="T2" fmla="*/ 0 w 1052"/>
              <a:gd name="T3" fmla="*/ 526 h 1052"/>
              <a:gd name="T4" fmla="*/ 526 w 1052"/>
              <a:gd name="T5" fmla="*/ 0 h 1052"/>
              <a:gd name="T6" fmla="*/ 1052 w 1052"/>
              <a:gd name="T7" fmla="*/ 526 h 1052"/>
              <a:gd name="T8" fmla="*/ 1052 w 1052"/>
              <a:gd name="T9" fmla="*/ 526 h 1052"/>
              <a:gd name="T10" fmla="*/ 526 w 1052"/>
              <a:gd name="T11" fmla="*/ 1052 h 1052"/>
              <a:gd name="T12" fmla="*/ 526 w 1052"/>
              <a:gd name="T13" fmla="*/ 1052 h 1052"/>
              <a:gd name="T14" fmla="*/ 0 w 1052"/>
              <a:gd name="T15" fmla="*/ 526 h 10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052" h="1052">
                <a:moveTo>
                  <a:pt x="0" y="526"/>
                </a:moveTo>
                <a:cubicBezTo>
                  <a:pt x="0" y="526"/>
                  <a:pt x="0" y="526"/>
                  <a:pt x="0" y="526"/>
                </a:cubicBezTo>
                <a:cubicBezTo>
                  <a:pt x="0" y="236"/>
                  <a:pt x="236" y="0"/>
                  <a:pt x="526" y="0"/>
                </a:cubicBezTo>
                <a:cubicBezTo>
                  <a:pt x="817" y="0"/>
                  <a:pt x="1052" y="236"/>
                  <a:pt x="1052" y="526"/>
                </a:cubicBezTo>
                <a:cubicBezTo>
                  <a:pt x="1052" y="526"/>
                  <a:pt x="1052" y="526"/>
                  <a:pt x="1052" y="526"/>
                </a:cubicBezTo>
                <a:cubicBezTo>
                  <a:pt x="1052" y="817"/>
                  <a:pt x="817" y="1052"/>
                  <a:pt x="526" y="1052"/>
                </a:cubicBezTo>
                <a:cubicBezTo>
                  <a:pt x="526" y="1052"/>
                  <a:pt x="526" y="1052"/>
                  <a:pt x="526" y="1052"/>
                </a:cubicBezTo>
                <a:cubicBezTo>
                  <a:pt x="236" y="1052"/>
                  <a:pt x="0" y="817"/>
                  <a:pt x="0" y="526"/>
                </a:cubicBez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wrap="square" lIns="88641" tIns="44321" rIns="88641" bIns="4432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Times New Roman" pitchFamily="18" charset="0"/>
            </a:endParaRPr>
          </a:p>
        </p:txBody>
      </p:sp>
      <p:sp>
        <p:nvSpPr>
          <p:cNvPr id="10" name="Freeform 95">
            <a:extLst>
              <a:ext uri="{FF2B5EF4-FFF2-40B4-BE49-F238E27FC236}">
                <a16:creationId xmlns:a16="http://schemas.microsoft.com/office/drawing/2014/main" id="{C4F85622-4A74-B816-FD56-2E9E13F4372B}"/>
              </a:ext>
            </a:extLst>
          </p:cNvPr>
          <p:cNvSpPr>
            <a:spLocks/>
          </p:cNvSpPr>
          <p:nvPr/>
        </p:nvSpPr>
        <p:spPr bwMode="gray">
          <a:xfrm>
            <a:off x="7217480" y="4320670"/>
            <a:ext cx="120251" cy="224731"/>
          </a:xfrm>
          <a:custGeom>
            <a:avLst/>
            <a:gdLst>
              <a:gd name="T0" fmla="*/ 66 w 976"/>
              <a:gd name="T1" fmla="*/ 1824 h 1824"/>
              <a:gd name="T2" fmla="*/ 0 w 976"/>
              <a:gd name="T3" fmla="*/ 1758 h 1824"/>
              <a:gd name="T4" fmla="*/ 843 w 976"/>
              <a:gd name="T5" fmla="*/ 912 h 1824"/>
              <a:gd name="T6" fmla="*/ 0 w 976"/>
              <a:gd name="T7" fmla="*/ 66 h 1824"/>
              <a:gd name="T8" fmla="*/ 66 w 976"/>
              <a:gd name="T9" fmla="*/ 0 h 1824"/>
              <a:gd name="T10" fmla="*/ 976 w 976"/>
              <a:gd name="T11" fmla="*/ 912 h 1824"/>
              <a:gd name="T12" fmla="*/ 66 w 976"/>
              <a:gd name="T13" fmla="*/ 1824 h 1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76" h="1824">
                <a:moveTo>
                  <a:pt x="66" y="1824"/>
                </a:moveTo>
                <a:lnTo>
                  <a:pt x="0" y="1758"/>
                </a:lnTo>
                <a:lnTo>
                  <a:pt x="843" y="912"/>
                </a:lnTo>
                <a:lnTo>
                  <a:pt x="0" y="66"/>
                </a:lnTo>
                <a:lnTo>
                  <a:pt x="66" y="0"/>
                </a:lnTo>
                <a:lnTo>
                  <a:pt x="976" y="912"/>
                </a:lnTo>
                <a:lnTo>
                  <a:pt x="66" y="182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8641" tIns="44321" rIns="88641" bIns="4432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Times New Roman" pitchFamily="18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551611" y="1436916"/>
            <a:ext cx="9024504" cy="90225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50000">
                <a:schemeClr val="tx2">
                  <a:tint val="44500"/>
                  <a:satMod val="160000"/>
                </a:schemeClr>
              </a:gs>
              <a:gs pos="85000">
                <a:schemeClr val="tx2">
                  <a:tint val="23500"/>
                  <a:satMod val="160000"/>
                  <a:alpha val="25000"/>
                </a:schemeClr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1A18C7F7-32B2-73CE-2D9A-68B3D8F07031}"/>
              </a:ext>
            </a:extLst>
          </p:cNvPr>
          <p:cNvSpPr/>
          <p:nvPr/>
        </p:nvSpPr>
        <p:spPr>
          <a:xfrm>
            <a:off x="7900155" y="3217496"/>
            <a:ext cx="961593" cy="961593"/>
          </a:xfrm>
          <a:prstGeom prst="ellipse">
            <a:avLst/>
          </a:prstGeom>
          <a:solidFill>
            <a:schemeClr val="accent2">
              <a:lumMod val="50000"/>
              <a:lumOff val="50000"/>
            </a:schemeClr>
          </a:solidFill>
          <a:ln w="190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$2.1B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849151B4-003C-CA94-229B-EEBA3A298885}"/>
              </a:ext>
            </a:extLst>
          </p:cNvPr>
          <p:cNvSpPr/>
          <p:nvPr/>
        </p:nvSpPr>
        <p:spPr>
          <a:xfrm>
            <a:off x="7900155" y="4615696"/>
            <a:ext cx="961593" cy="961593"/>
          </a:xfrm>
          <a:prstGeom prst="ellipse">
            <a:avLst/>
          </a:prstGeom>
          <a:solidFill>
            <a:schemeClr val="accent2">
              <a:lumMod val="10000"/>
              <a:lumOff val="90000"/>
            </a:schemeClr>
          </a:solidFill>
          <a:ln w="190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$830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F516C5B-CE31-09F9-8409-6282DF7904A2}"/>
              </a:ext>
            </a:extLst>
          </p:cNvPr>
          <p:cNvSpPr txBox="1"/>
          <p:nvPr/>
        </p:nvSpPr>
        <p:spPr>
          <a:xfrm>
            <a:off x="9118858" y="3559793"/>
            <a:ext cx="2464845" cy="276999"/>
          </a:xfrm>
          <a:prstGeom prst="rect">
            <a:avLst/>
          </a:prstGeom>
          <a:noFill/>
          <a:ln w="317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Improvement in 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ash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5601998-1D4E-6D09-98D0-943A3B74792E}"/>
              </a:ext>
            </a:extLst>
          </p:cNvPr>
          <p:cNvSpPr txBox="1"/>
          <p:nvPr/>
        </p:nvSpPr>
        <p:spPr>
          <a:xfrm>
            <a:off x="9118858" y="4957993"/>
            <a:ext cx="2464845" cy="276999"/>
          </a:xfrm>
          <a:prstGeom prst="rect">
            <a:avLst/>
          </a:prstGeom>
          <a:noFill/>
          <a:ln w="317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I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 fleet readiness value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A2BDF49-1132-D5A0-7D8E-6F135848476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8014" y="2084798"/>
            <a:ext cx="6589155" cy="4232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4143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ct 55" hidden="1">
            <a:extLst>
              <a:ext uri="{FF2B5EF4-FFF2-40B4-BE49-F238E27FC236}">
                <a16:creationId xmlns:a16="http://schemas.microsoft.com/office/drawing/2014/main" id="{60681190-DA02-E389-E1EB-EA1D41DCBE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93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56" name="Object 55" hidden="1">
                        <a:extLst>
                          <a:ext uri="{FF2B5EF4-FFF2-40B4-BE49-F238E27FC236}">
                            <a16:creationId xmlns:a16="http://schemas.microsoft.com/office/drawing/2014/main" id="{60681190-DA02-E389-E1EB-EA1D41DCBE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6BA2B7DE-62EF-90EA-BB4A-F31EE3759031}"/>
              </a:ext>
            </a:extLst>
          </p:cNvPr>
          <p:cNvCxnSpPr>
            <a:cxnSpLocks/>
          </p:cNvCxnSpPr>
          <p:nvPr/>
        </p:nvCxnSpPr>
        <p:spPr>
          <a:xfrm>
            <a:off x="10125442" y="1564631"/>
            <a:ext cx="1678249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id="{F433DC3B-9334-542E-B9FB-657D7E54C767}"/>
              </a:ext>
            </a:extLst>
          </p:cNvPr>
          <p:cNvSpPr/>
          <p:nvPr/>
        </p:nvSpPr>
        <p:spPr>
          <a:xfrm>
            <a:off x="10336960" y="1379965"/>
            <a:ext cx="1270432" cy="369332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2023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697DB8-8DD7-D6EE-95E2-853A41B01C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7054" y="229617"/>
            <a:ext cx="8459798" cy="775597"/>
          </a:xfrm>
        </p:spPr>
        <p:txBody>
          <a:bodyPr vert="horz"/>
          <a:lstStyle/>
          <a:p>
            <a:r>
              <a:rPr lang="en-US" sz="2800" dirty="0">
                <a:solidFill>
                  <a:srgbClr val="002060"/>
                </a:solidFill>
              </a:rPr>
              <a:t>28 NSS-S initiatives </a:t>
            </a:r>
            <a:r>
              <a:rPr lang="en-US" sz="2800" dirty="0"/>
              <a:t>completed across first 6 Waves from 2021 to 2023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A385384-0DAB-25BD-3CBD-0EE803A1C263}"/>
              </a:ext>
            </a:extLst>
          </p:cNvPr>
          <p:cNvSpPr>
            <a:spLocks/>
          </p:cNvSpPr>
          <p:nvPr/>
        </p:nvSpPr>
        <p:spPr>
          <a:xfrm>
            <a:off x="1581000" y="2053370"/>
            <a:ext cx="1678249" cy="350984"/>
          </a:xfrm>
          <a:prstGeom prst="rect">
            <a:avLst/>
          </a:prstGeom>
          <a:solidFill>
            <a:schemeClr val="bg1">
              <a:lumMod val="85000"/>
            </a:schemeClr>
          </a:solidFill>
          <a:ln w="8001" cap="rnd" cmpd="sng" algn="ctr">
            <a:solidFill>
              <a:srgbClr val="0099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7" tIns="28804" rIns="57607" bIns="288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RTAT Reduc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5D5D121-04A0-27BA-6ACB-A720B724B422}"/>
              </a:ext>
            </a:extLst>
          </p:cNvPr>
          <p:cNvSpPr>
            <a:spLocks/>
          </p:cNvSpPr>
          <p:nvPr/>
        </p:nvSpPr>
        <p:spPr>
          <a:xfrm>
            <a:off x="1581000" y="2492883"/>
            <a:ext cx="1678249" cy="350984"/>
          </a:xfrm>
          <a:prstGeom prst="rect">
            <a:avLst/>
          </a:prstGeom>
          <a:solidFill>
            <a:schemeClr val="bg1">
              <a:lumMod val="85000"/>
            </a:schemeClr>
          </a:solidFill>
          <a:ln w="8001" cap="rnd" cmpd="sng" algn="ctr">
            <a:solidFill>
              <a:srgbClr val="146EF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7" tIns="28804" rIns="57607" bIns="288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ricing Desig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219E79D-B592-F9C5-E717-E814C15DEA59}"/>
              </a:ext>
            </a:extLst>
          </p:cNvPr>
          <p:cNvSpPr>
            <a:spLocks/>
          </p:cNvSpPr>
          <p:nvPr/>
        </p:nvSpPr>
        <p:spPr>
          <a:xfrm>
            <a:off x="1581000" y="2932396"/>
            <a:ext cx="1678249" cy="350984"/>
          </a:xfrm>
          <a:prstGeom prst="rect">
            <a:avLst/>
          </a:prstGeom>
          <a:solidFill>
            <a:schemeClr val="bg1">
              <a:lumMod val="85000"/>
            </a:schemeClr>
          </a:solidFill>
          <a:ln w="8001" cap="rnd" cmpd="sng" algn="ctr">
            <a:solidFill>
              <a:srgbClr val="146EF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7" tIns="28804" rIns="57607" bIns="288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ash War Room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3EAF546-51A5-3711-1DA5-EC296A12BC53}"/>
              </a:ext>
            </a:extLst>
          </p:cNvPr>
          <p:cNvSpPr>
            <a:spLocks/>
          </p:cNvSpPr>
          <p:nvPr/>
        </p:nvSpPr>
        <p:spPr>
          <a:xfrm>
            <a:off x="6696800" y="3371909"/>
            <a:ext cx="1678249" cy="350984"/>
          </a:xfrm>
          <a:prstGeom prst="rect">
            <a:avLst/>
          </a:prstGeom>
          <a:solidFill>
            <a:srgbClr val="D9D9D9"/>
          </a:solidFill>
          <a:ln w="3175" cap="rnd" cmpd="sng" algn="ctr">
            <a:solidFill>
              <a:srgbClr val="7272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7" tIns="28804" rIns="57607" bIns="288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viation O-level Demand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Mgmt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- F/A-18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D34BAB5-9E18-2E4F-E493-E9A4543A13F4}"/>
              </a:ext>
            </a:extLst>
          </p:cNvPr>
          <p:cNvSpPr>
            <a:spLocks/>
          </p:cNvSpPr>
          <p:nvPr/>
        </p:nvSpPr>
        <p:spPr>
          <a:xfrm>
            <a:off x="3286266" y="4690446"/>
            <a:ext cx="1678249" cy="350984"/>
          </a:xfrm>
          <a:prstGeom prst="rect">
            <a:avLst/>
          </a:prstGeom>
          <a:solidFill>
            <a:schemeClr val="bg1">
              <a:lumMod val="85000"/>
            </a:schemeClr>
          </a:solidFill>
          <a:ln w="8001" cap="rnd" cmpd="sng" algn="ctr">
            <a:solidFill>
              <a:srgbClr val="FECB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7" tIns="28804" rIns="57607" bIns="288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viation: FRC throughpu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CB1F691-8DAA-143A-9734-5EFEEA85744A}"/>
              </a:ext>
            </a:extLst>
          </p:cNvPr>
          <p:cNvSpPr>
            <a:spLocks/>
          </p:cNvSpPr>
          <p:nvPr/>
        </p:nvSpPr>
        <p:spPr>
          <a:xfrm>
            <a:off x="3286266" y="5129959"/>
            <a:ext cx="1678249" cy="350984"/>
          </a:xfrm>
          <a:prstGeom prst="rect">
            <a:avLst/>
          </a:prstGeom>
          <a:solidFill>
            <a:schemeClr val="bg1">
              <a:lumMod val="85000"/>
            </a:schemeClr>
          </a:solidFill>
          <a:ln w="8001" cap="rnd" cmpd="sng" algn="ctr">
            <a:solidFill>
              <a:srgbClr val="FECB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7" tIns="28804" rIns="57607" bIns="288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Maritime: Shipyard Materiel Managemen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A6A58FF-1E59-6629-8442-FBB9E28A7321}"/>
              </a:ext>
            </a:extLst>
          </p:cNvPr>
          <p:cNvSpPr>
            <a:spLocks/>
          </p:cNvSpPr>
          <p:nvPr/>
        </p:nvSpPr>
        <p:spPr>
          <a:xfrm>
            <a:off x="3286266" y="6008985"/>
            <a:ext cx="1678249" cy="350984"/>
          </a:xfrm>
          <a:prstGeom prst="rect">
            <a:avLst/>
          </a:prstGeom>
          <a:solidFill>
            <a:schemeClr val="bg1">
              <a:lumMod val="85000"/>
            </a:schemeClr>
          </a:solidFill>
          <a:ln w="8001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7" tIns="28804" rIns="57607" bIns="288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ross-Navy Strategic Supplier Management Program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F1C9CEE-D1D2-D67E-FD32-C1D80C752C86}"/>
              </a:ext>
            </a:extLst>
          </p:cNvPr>
          <p:cNvSpPr/>
          <p:nvPr/>
        </p:nvSpPr>
        <p:spPr>
          <a:xfrm>
            <a:off x="427213" y="2053370"/>
            <a:ext cx="1069848" cy="350984"/>
          </a:xfrm>
          <a:prstGeom prst="rect">
            <a:avLst/>
          </a:prstGeom>
          <a:solidFill>
            <a:srgbClr val="009999"/>
          </a:solidFill>
          <a:ln w="11430" cap="rnd" cmpd="sng" algn="ctr">
            <a:solidFill>
              <a:srgbClr val="0099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E2E Velocity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8E59E81-0750-585D-B7E3-7F24D5FBFBD9}"/>
              </a:ext>
            </a:extLst>
          </p:cNvPr>
          <p:cNvSpPr/>
          <p:nvPr/>
        </p:nvSpPr>
        <p:spPr>
          <a:xfrm>
            <a:off x="427213" y="2492882"/>
            <a:ext cx="1069848" cy="790497"/>
          </a:xfrm>
          <a:prstGeom prst="rect">
            <a:avLst/>
          </a:prstGeom>
          <a:solidFill>
            <a:srgbClr val="146EFA"/>
          </a:solidFill>
          <a:ln w="11430" cap="rnd" cmpd="sng" algn="ctr">
            <a:solidFill>
              <a:srgbClr val="146EF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8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Working Capital Fund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1EA1216-BDD8-675A-DC18-6E6107E9A74A}"/>
              </a:ext>
            </a:extLst>
          </p:cNvPr>
          <p:cNvSpPr/>
          <p:nvPr/>
        </p:nvSpPr>
        <p:spPr>
          <a:xfrm>
            <a:off x="427213" y="3371907"/>
            <a:ext cx="1069848" cy="1230010"/>
          </a:xfrm>
          <a:prstGeom prst="rect">
            <a:avLst/>
          </a:prstGeom>
          <a:solidFill>
            <a:srgbClr val="727200"/>
          </a:solidFill>
          <a:ln w="11430" cap="rnd" cmpd="sng" algn="ctr">
            <a:solidFill>
              <a:srgbClr val="5A5A5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Demand Managemen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E7B61D4-9F1F-8171-49DF-E13DDE55FC19}"/>
              </a:ext>
            </a:extLst>
          </p:cNvPr>
          <p:cNvSpPr/>
          <p:nvPr/>
        </p:nvSpPr>
        <p:spPr>
          <a:xfrm>
            <a:off x="427213" y="4690445"/>
            <a:ext cx="1069848" cy="1230010"/>
          </a:xfrm>
          <a:prstGeom prst="rect">
            <a:avLst/>
          </a:prstGeom>
          <a:solidFill>
            <a:srgbClr val="FECB00"/>
          </a:solidFill>
          <a:ln w="11430" cap="rnd" cmpd="sng" algn="ctr">
            <a:solidFill>
              <a:srgbClr val="FECB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8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Optimize Organic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B28E025-982E-7619-FF50-F1F542A5BCBA}"/>
              </a:ext>
            </a:extLst>
          </p:cNvPr>
          <p:cNvSpPr/>
          <p:nvPr/>
        </p:nvSpPr>
        <p:spPr>
          <a:xfrm>
            <a:off x="427213" y="6008985"/>
            <a:ext cx="1069848" cy="790498"/>
          </a:xfrm>
          <a:prstGeom prst="rect">
            <a:avLst/>
          </a:prstGeom>
          <a:solidFill>
            <a:srgbClr val="002060"/>
          </a:solidFill>
          <a:ln w="11430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8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haping Industrial Bas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A967133-8151-36CD-0BC5-9D57EF56D62E}"/>
              </a:ext>
            </a:extLst>
          </p:cNvPr>
          <p:cNvSpPr>
            <a:spLocks/>
          </p:cNvSpPr>
          <p:nvPr/>
        </p:nvSpPr>
        <p:spPr>
          <a:xfrm>
            <a:off x="3286266" y="5569472"/>
            <a:ext cx="1678249" cy="350984"/>
          </a:xfrm>
          <a:prstGeom prst="rect">
            <a:avLst/>
          </a:prstGeom>
          <a:solidFill>
            <a:schemeClr val="bg1">
              <a:lumMod val="85000"/>
            </a:schemeClr>
          </a:solidFill>
          <a:ln w="8001" cap="rnd" cmpd="sng" algn="ctr">
            <a:solidFill>
              <a:srgbClr val="FECB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7" tIns="28804" rIns="57607" bIns="288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Maritime: RMCs &amp; NWC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436074E-CF51-EAD4-B543-AC962B58DF2B}"/>
              </a:ext>
            </a:extLst>
          </p:cNvPr>
          <p:cNvSpPr>
            <a:spLocks/>
          </p:cNvSpPr>
          <p:nvPr/>
        </p:nvSpPr>
        <p:spPr>
          <a:xfrm>
            <a:off x="4991533" y="2492883"/>
            <a:ext cx="1678249" cy="35098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cap="rnd" cmpd="sng" algn="ctr">
            <a:solidFill>
              <a:srgbClr val="146EF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7" tIns="28804" rIns="57607" bIns="288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ash Management Offic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23B8B63-C268-EE56-CD50-D4C046909EA0}"/>
              </a:ext>
            </a:extLst>
          </p:cNvPr>
          <p:cNvSpPr>
            <a:spLocks/>
          </p:cNvSpPr>
          <p:nvPr/>
        </p:nvSpPr>
        <p:spPr>
          <a:xfrm>
            <a:off x="4991533" y="6008985"/>
            <a:ext cx="1678249" cy="35098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7" tIns="28804" rIns="57607" bIns="288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RC-210 Joint Sustainment / Procurement RFP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F4C23E7-F27D-4854-1B27-71C0CF70153E}"/>
              </a:ext>
            </a:extLst>
          </p:cNvPr>
          <p:cNvSpPr>
            <a:spLocks/>
          </p:cNvSpPr>
          <p:nvPr/>
        </p:nvSpPr>
        <p:spPr>
          <a:xfrm>
            <a:off x="4991533" y="4690446"/>
            <a:ext cx="1678249" cy="35098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cap="rnd" cmpd="sng" algn="ctr">
            <a:solidFill>
              <a:srgbClr val="FECB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7" tIns="28804" rIns="57607" bIns="288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SY SSU/C500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Material Mgmt integration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2C26613-5070-B509-A6B7-4DE909DE70B5}"/>
              </a:ext>
            </a:extLst>
          </p:cNvPr>
          <p:cNvSpPr>
            <a:spLocks/>
          </p:cNvSpPr>
          <p:nvPr/>
        </p:nvSpPr>
        <p:spPr>
          <a:xfrm>
            <a:off x="4991533" y="5129959"/>
            <a:ext cx="3383516" cy="35098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 cap="rnd" cmpd="sng" algn="ctr">
            <a:solidFill>
              <a:srgbClr val="FECB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7" tIns="28804" rIns="57607" bIns="288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SY-SY: Rotable Pool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BC1AFC5-450D-F025-64B6-5DE402525480}"/>
              </a:ext>
            </a:extLst>
          </p:cNvPr>
          <p:cNvSpPr>
            <a:spLocks/>
          </p:cNvSpPr>
          <p:nvPr/>
        </p:nvSpPr>
        <p:spPr>
          <a:xfrm>
            <a:off x="6696800" y="2492883"/>
            <a:ext cx="1678249" cy="350984"/>
          </a:xfrm>
          <a:prstGeom prst="rect">
            <a:avLst/>
          </a:prstGeom>
          <a:solidFill>
            <a:srgbClr val="D9D9D9"/>
          </a:solidFill>
          <a:ln w="3175" cap="rnd" cmpd="sng" algn="ctr">
            <a:solidFill>
              <a:srgbClr val="146EF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7" tIns="28804" rIns="57607" bIns="288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Due-in Long Supply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FD1D813-E35F-1D86-5B3E-EA01A8E6B150}"/>
              </a:ext>
            </a:extLst>
          </p:cNvPr>
          <p:cNvSpPr>
            <a:spLocks/>
          </p:cNvSpPr>
          <p:nvPr/>
        </p:nvSpPr>
        <p:spPr>
          <a:xfrm>
            <a:off x="6696800" y="2932396"/>
            <a:ext cx="1678249" cy="350984"/>
          </a:xfrm>
          <a:prstGeom prst="rect">
            <a:avLst/>
          </a:prstGeom>
          <a:solidFill>
            <a:srgbClr val="D9D9D9"/>
          </a:solidFill>
          <a:ln w="3175" cap="rnd" cmpd="sng" algn="ctr">
            <a:solidFill>
              <a:srgbClr val="146EFA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7" tIns="28804" rIns="57607" bIns="288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&amp;OP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FBBEA73-503A-0899-2E9F-CE6388DB9271}"/>
              </a:ext>
            </a:extLst>
          </p:cNvPr>
          <p:cNvSpPr>
            <a:spLocks/>
          </p:cNvSpPr>
          <p:nvPr/>
        </p:nvSpPr>
        <p:spPr>
          <a:xfrm>
            <a:off x="6696800" y="4690446"/>
            <a:ext cx="1678249" cy="350984"/>
          </a:xfrm>
          <a:prstGeom prst="rect">
            <a:avLst/>
          </a:prstGeom>
          <a:solidFill>
            <a:srgbClr val="D9D9D9"/>
          </a:solidFill>
          <a:ln w="3175" cap="rnd" cmpd="sng" algn="ctr">
            <a:solidFill>
              <a:srgbClr val="FECB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7" tIns="28804" rIns="57607" bIns="288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SY E2E SCM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D3BFB87-5558-5455-99A9-99E374FC3AC0}"/>
              </a:ext>
            </a:extLst>
          </p:cNvPr>
          <p:cNvSpPr>
            <a:spLocks/>
          </p:cNvSpPr>
          <p:nvPr/>
        </p:nvSpPr>
        <p:spPr>
          <a:xfrm>
            <a:off x="1580999" y="3811422"/>
            <a:ext cx="8499317" cy="350984"/>
          </a:xfrm>
          <a:prstGeom prst="rect">
            <a:avLst/>
          </a:prstGeom>
          <a:solidFill>
            <a:schemeClr val="bg1">
              <a:lumMod val="85000"/>
            </a:schemeClr>
          </a:solidFill>
          <a:ln w="8001" cap="rnd" cmpd="sng" algn="ctr">
            <a:solidFill>
              <a:srgbClr val="7272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7" tIns="28804" rIns="57607" bIns="288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Maritime (SUBs): VACL material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3428483-BBCD-6531-95EA-6B4485B3120F}"/>
              </a:ext>
            </a:extLst>
          </p:cNvPr>
          <p:cNvSpPr>
            <a:spLocks/>
          </p:cNvSpPr>
          <p:nvPr/>
        </p:nvSpPr>
        <p:spPr>
          <a:xfrm>
            <a:off x="6696800" y="6008985"/>
            <a:ext cx="1678249" cy="350984"/>
          </a:xfrm>
          <a:prstGeom prst="rect">
            <a:avLst/>
          </a:prstGeom>
          <a:solidFill>
            <a:srgbClr val="D9D9D9"/>
          </a:solidFill>
          <a:ln w="317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7" tIns="28804" rIns="57607" bIns="288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ombatting Inflation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AF1338F9-594B-8983-1B1D-8C1E27D3C8A5}"/>
              </a:ext>
            </a:extLst>
          </p:cNvPr>
          <p:cNvCxnSpPr>
            <a:cxnSpLocks/>
          </p:cNvCxnSpPr>
          <p:nvPr/>
        </p:nvCxnSpPr>
        <p:spPr>
          <a:xfrm>
            <a:off x="1580999" y="1564631"/>
            <a:ext cx="3280712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587A4F78-CC0C-1E0E-7435-AEE2E89C1C46}"/>
              </a:ext>
            </a:extLst>
          </p:cNvPr>
          <p:cNvSpPr/>
          <p:nvPr/>
        </p:nvSpPr>
        <p:spPr>
          <a:xfrm>
            <a:off x="2566321" y="1379965"/>
            <a:ext cx="1310068" cy="369332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2021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CBA71F19-597E-D964-783B-C7FC87678DEE}"/>
              </a:ext>
            </a:extLst>
          </p:cNvPr>
          <p:cNvCxnSpPr>
            <a:cxnSpLocks/>
          </p:cNvCxnSpPr>
          <p:nvPr/>
        </p:nvCxnSpPr>
        <p:spPr>
          <a:xfrm>
            <a:off x="4991533" y="1564631"/>
            <a:ext cx="5003493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>
            <a:extLst>
              <a:ext uri="{FF2B5EF4-FFF2-40B4-BE49-F238E27FC236}">
                <a16:creationId xmlns:a16="http://schemas.microsoft.com/office/drawing/2014/main" id="{38DE1972-F5B4-FF20-F5A6-220D2EEB0241}"/>
              </a:ext>
            </a:extLst>
          </p:cNvPr>
          <p:cNvSpPr/>
          <p:nvPr/>
        </p:nvSpPr>
        <p:spPr>
          <a:xfrm>
            <a:off x="6900709" y="1379965"/>
            <a:ext cx="1270432" cy="369332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2022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E99A7021-D78D-9A9C-CDE0-CA3F409E5873}"/>
              </a:ext>
            </a:extLst>
          </p:cNvPr>
          <p:cNvSpPr>
            <a:spLocks/>
          </p:cNvSpPr>
          <p:nvPr/>
        </p:nvSpPr>
        <p:spPr>
          <a:xfrm>
            <a:off x="4991533" y="5569472"/>
            <a:ext cx="3383516" cy="350984"/>
          </a:xfrm>
          <a:prstGeom prst="rect">
            <a:avLst/>
          </a:prstGeom>
          <a:solidFill>
            <a:srgbClr val="D9D9D9"/>
          </a:solidFill>
          <a:ln w="3175" cap="rnd" cmpd="sng" algn="ctr">
            <a:solidFill>
              <a:srgbClr val="FECB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7" tIns="28804" rIns="57607" bIns="288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Optimize Organic Maritime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98780660-D4C2-A19F-3422-8F5046231AB2}"/>
              </a:ext>
            </a:extLst>
          </p:cNvPr>
          <p:cNvSpPr>
            <a:spLocks/>
          </p:cNvSpPr>
          <p:nvPr/>
        </p:nvSpPr>
        <p:spPr>
          <a:xfrm>
            <a:off x="6696800" y="6448499"/>
            <a:ext cx="1678249" cy="350984"/>
          </a:xfrm>
          <a:prstGeom prst="rect">
            <a:avLst/>
          </a:prstGeom>
          <a:solidFill>
            <a:srgbClr val="D9D9D9"/>
          </a:solidFill>
          <a:ln w="317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7" tIns="28804" rIns="57607" bIns="288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EMALS / AAG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02780BE-4C88-51A9-32A0-9A16DB995830}"/>
              </a:ext>
            </a:extLst>
          </p:cNvPr>
          <p:cNvSpPr>
            <a:spLocks/>
          </p:cNvSpPr>
          <p:nvPr/>
        </p:nvSpPr>
        <p:spPr>
          <a:xfrm>
            <a:off x="8402067" y="3371909"/>
            <a:ext cx="1678249" cy="350984"/>
          </a:xfrm>
          <a:prstGeom prst="rect">
            <a:avLst/>
          </a:prstGeom>
          <a:solidFill>
            <a:srgbClr val="D9D9D9"/>
          </a:solidFill>
          <a:ln w="3175" cap="rnd" cmpd="sng" algn="ctr">
            <a:solidFill>
              <a:srgbClr val="7272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7" tIns="28804" rIns="57607" bIns="288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viation O-level Demand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Mgmt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- Other T/M/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8A37E3E2-FF40-C803-B2C1-72600C75F269}"/>
              </a:ext>
            </a:extLst>
          </p:cNvPr>
          <p:cNvSpPr>
            <a:spLocks/>
          </p:cNvSpPr>
          <p:nvPr/>
        </p:nvSpPr>
        <p:spPr>
          <a:xfrm>
            <a:off x="8402067" y="6008985"/>
            <a:ext cx="1678249" cy="350984"/>
          </a:xfrm>
          <a:prstGeom prst="rect">
            <a:avLst/>
          </a:prstGeom>
          <a:solidFill>
            <a:srgbClr val="D9D9D9"/>
          </a:solidFill>
          <a:ln w="317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7" tIns="28804" rIns="57607" bIns="288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Buying is Power</a:t>
            </a:r>
          </a:p>
        </p:txBody>
      </p:sp>
      <p:sp>
        <p:nvSpPr>
          <p:cNvPr id="5" name="ee4pHeader2">
            <a:extLst>
              <a:ext uri="{FF2B5EF4-FFF2-40B4-BE49-F238E27FC236}">
                <a16:creationId xmlns:a16="http://schemas.microsoft.com/office/drawing/2014/main" id="{612E6660-2C40-7BA8-325F-E551ED6DDDFF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580999" y="1729467"/>
            <a:ext cx="1678249" cy="257291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1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Times New Roman" pitchFamily="18" charset="0"/>
                <a:sym typeface="Trebuchet MS" panose="020B0603020202020204" pitchFamily="34" charset="0"/>
              </a:rPr>
              <a:t>Wave 1</a:t>
            </a:r>
          </a:p>
        </p:txBody>
      </p:sp>
      <p:sp>
        <p:nvSpPr>
          <p:cNvPr id="6" name="ee4pHeader3">
            <a:extLst>
              <a:ext uri="{FF2B5EF4-FFF2-40B4-BE49-F238E27FC236}">
                <a16:creationId xmlns:a16="http://schemas.microsoft.com/office/drawing/2014/main" id="{C6B4C51F-4ECE-B235-D9C1-6C40E805A7C7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286266" y="1729467"/>
            <a:ext cx="1678249" cy="257291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1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Times New Roman" pitchFamily="18" charset="0"/>
                <a:sym typeface="Trebuchet MS" panose="020B0603020202020204" pitchFamily="34" charset="0"/>
              </a:rPr>
              <a:t>Wave 2</a:t>
            </a:r>
          </a:p>
        </p:txBody>
      </p:sp>
      <p:sp>
        <p:nvSpPr>
          <p:cNvPr id="22" name="ee4pHeader3">
            <a:extLst>
              <a:ext uri="{FF2B5EF4-FFF2-40B4-BE49-F238E27FC236}">
                <a16:creationId xmlns:a16="http://schemas.microsoft.com/office/drawing/2014/main" id="{378489CE-83C3-1226-119C-7AC97C1037D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991533" y="1722337"/>
            <a:ext cx="1678249" cy="257291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1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Times New Roman" pitchFamily="18" charset="0"/>
                <a:sym typeface="Trebuchet MS" panose="020B0603020202020204" pitchFamily="34" charset="0"/>
              </a:rPr>
              <a:t>Wave 3</a:t>
            </a:r>
          </a:p>
        </p:txBody>
      </p:sp>
      <p:sp>
        <p:nvSpPr>
          <p:cNvPr id="28" name="ee4pHeader3">
            <a:extLst>
              <a:ext uri="{FF2B5EF4-FFF2-40B4-BE49-F238E27FC236}">
                <a16:creationId xmlns:a16="http://schemas.microsoft.com/office/drawing/2014/main" id="{7FA44276-A9CF-E8F1-1C01-6729905BE620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696800" y="1729467"/>
            <a:ext cx="1678249" cy="257291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12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Times New Roman" pitchFamily="18" charset="0"/>
                <a:sym typeface="Trebuchet MS" panose="020B0603020202020204" pitchFamily="34" charset="0"/>
              </a:rPr>
              <a:t>Wave 4</a:t>
            </a:r>
          </a:p>
        </p:txBody>
      </p:sp>
      <p:sp>
        <p:nvSpPr>
          <p:cNvPr id="4" name="ee4pHeader3">
            <a:extLst>
              <a:ext uri="{FF2B5EF4-FFF2-40B4-BE49-F238E27FC236}">
                <a16:creationId xmlns:a16="http://schemas.microsoft.com/office/drawing/2014/main" id="{FC20938C-7369-DFF1-08AF-7814B8FFE481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8402067" y="1729467"/>
            <a:ext cx="1678249" cy="257291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1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Times New Roman" pitchFamily="18" charset="0"/>
                <a:sym typeface="Trebuchet MS" panose="020B0603020202020204" pitchFamily="34" charset="0"/>
              </a:rPr>
              <a:t>Wave 5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32E5D3A-C3EB-40A6-03D2-0997525A2351}"/>
              </a:ext>
            </a:extLst>
          </p:cNvPr>
          <p:cNvSpPr>
            <a:spLocks/>
          </p:cNvSpPr>
          <p:nvPr/>
        </p:nvSpPr>
        <p:spPr>
          <a:xfrm>
            <a:off x="8402067" y="4690446"/>
            <a:ext cx="1678249" cy="350984"/>
          </a:xfrm>
          <a:prstGeom prst="rect">
            <a:avLst/>
          </a:prstGeom>
          <a:solidFill>
            <a:srgbClr val="D9D9D9"/>
          </a:solidFill>
          <a:ln w="3175" cap="rnd" cmpd="sng" algn="ctr">
            <a:solidFill>
              <a:srgbClr val="FECB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7" tIns="28804" rIns="57607" bIns="288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SY Material Board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7B716A7-3B45-0C56-CA77-7A8F3C2A300D}"/>
              </a:ext>
            </a:extLst>
          </p:cNvPr>
          <p:cNvSpPr>
            <a:spLocks/>
          </p:cNvSpPr>
          <p:nvPr/>
        </p:nvSpPr>
        <p:spPr>
          <a:xfrm>
            <a:off x="1581000" y="4250933"/>
            <a:ext cx="1678249" cy="350984"/>
          </a:xfrm>
          <a:prstGeom prst="rect">
            <a:avLst/>
          </a:prstGeom>
          <a:solidFill>
            <a:schemeClr val="bg1">
              <a:lumMod val="85000"/>
            </a:schemeClr>
          </a:solidFill>
          <a:ln w="8001" cap="rnd" cmpd="sng" algn="ctr">
            <a:solidFill>
              <a:srgbClr val="7272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7" tIns="28804" rIns="57607" bIns="288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viation: Component Reliability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C0298AE1-8F4A-0E1E-DFC9-A97D49007A7B}"/>
              </a:ext>
            </a:extLst>
          </p:cNvPr>
          <p:cNvSpPr>
            <a:spLocks/>
          </p:cNvSpPr>
          <p:nvPr/>
        </p:nvSpPr>
        <p:spPr>
          <a:xfrm>
            <a:off x="3286266" y="4250933"/>
            <a:ext cx="1678249" cy="350984"/>
          </a:xfrm>
          <a:prstGeom prst="rect">
            <a:avLst/>
          </a:prstGeom>
          <a:solidFill>
            <a:schemeClr val="bg1">
              <a:lumMod val="85000"/>
            </a:schemeClr>
          </a:solidFill>
          <a:ln w="8001" cap="rnd" cmpd="sng" algn="ctr">
            <a:solidFill>
              <a:srgbClr val="7272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7" tIns="28804" rIns="57607" bIns="288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Maritime (Surface)</a:t>
            </a:r>
            <a:endParaRPr kumimoji="0" lang="en-US" sz="900" b="0" i="0" u="none" strike="noStrike" kern="1200" cap="none" spc="0" normalizeH="0" baseline="3000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6EC301A-4D2E-47B9-2AD8-F30E44E78D9F}"/>
              </a:ext>
            </a:extLst>
          </p:cNvPr>
          <p:cNvSpPr>
            <a:spLocks/>
          </p:cNvSpPr>
          <p:nvPr/>
        </p:nvSpPr>
        <p:spPr>
          <a:xfrm>
            <a:off x="6696800" y="4250933"/>
            <a:ext cx="5088784" cy="350984"/>
          </a:xfrm>
          <a:prstGeom prst="rect">
            <a:avLst/>
          </a:prstGeom>
          <a:solidFill>
            <a:srgbClr val="D9D9D9"/>
          </a:solidFill>
          <a:ln w="3175" cap="rnd" cmpd="sng" algn="ctr">
            <a:solidFill>
              <a:srgbClr val="7272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7" tIns="28804" rIns="57607" bIns="288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ASREP Reduction / Configuration Management</a:t>
            </a:r>
          </a:p>
        </p:txBody>
      </p:sp>
      <p:sp>
        <p:nvSpPr>
          <p:cNvPr id="10" name="ee4pHeader3">
            <a:extLst>
              <a:ext uri="{FF2B5EF4-FFF2-40B4-BE49-F238E27FC236}">
                <a16:creationId xmlns:a16="http://schemas.microsoft.com/office/drawing/2014/main" id="{CE2CCE60-7E20-47DD-FDD3-93B3F898E8A9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10107335" y="1721221"/>
            <a:ext cx="1678249" cy="257291"/>
          </a:xfrm>
          <a:prstGeom prst="chevron">
            <a:avLst>
              <a:gd name="adj" fmla="val 12004"/>
            </a:avLst>
          </a:prstGeom>
          <a:solidFill>
            <a:schemeClr val="tx2"/>
          </a:solidFill>
          <a:ln w="38100" cap="rnd" algn="ctr">
            <a:noFill/>
            <a:round/>
            <a:headEnd/>
            <a:tailEnd/>
          </a:ln>
        </p:spPr>
        <p:txBody>
          <a:bodyPr lIns="0" tIns="0" rIns="0" bIns="0" anchor="ctr" anchorCtr="0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1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Times New Roman" pitchFamily="18" charset="0"/>
                <a:sym typeface="Trebuchet MS" panose="020B0603020202020204" pitchFamily="34" charset="0"/>
              </a:rPr>
              <a:t>Wave 6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715304E8-AE26-1B6C-974F-AB043DCD2B29}"/>
              </a:ext>
            </a:extLst>
          </p:cNvPr>
          <p:cNvSpPr>
            <a:spLocks/>
          </p:cNvSpPr>
          <p:nvPr/>
        </p:nvSpPr>
        <p:spPr>
          <a:xfrm>
            <a:off x="10107335" y="4690446"/>
            <a:ext cx="1678249" cy="350984"/>
          </a:xfrm>
          <a:prstGeom prst="rect">
            <a:avLst/>
          </a:prstGeom>
          <a:solidFill>
            <a:srgbClr val="D9D9D9"/>
          </a:solidFill>
          <a:ln w="3175" cap="rnd" cmpd="sng" algn="ctr">
            <a:solidFill>
              <a:srgbClr val="FECB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7" tIns="28804" rIns="57607" bIns="288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E2E Material Management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394EC2C-F659-3147-04CC-34B083FF92FC}"/>
              </a:ext>
            </a:extLst>
          </p:cNvPr>
          <p:cNvSpPr>
            <a:spLocks/>
          </p:cNvSpPr>
          <p:nvPr/>
        </p:nvSpPr>
        <p:spPr>
          <a:xfrm>
            <a:off x="10107334" y="6008985"/>
            <a:ext cx="1678249" cy="350984"/>
          </a:xfrm>
          <a:prstGeom prst="rect">
            <a:avLst/>
          </a:prstGeom>
          <a:solidFill>
            <a:srgbClr val="D9D9D9"/>
          </a:solidFill>
          <a:ln w="317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7" tIns="28804" rIns="57607" bIns="288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DLR Value Capture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17BCD9F5-2FF0-B7AF-2205-98779E0A8815}"/>
              </a:ext>
            </a:extLst>
          </p:cNvPr>
          <p:cNvSpPr>
            <a:spLocks/>
          </p:cNvSpPr>
          <p:nvPr/>
        </p:nvSpPr>
        <p:spPr>
          <a:xfrm>
            <a:off x="10107334" y="5129959"/>
            <a:ext cx="1678249" cy="350984"/>
          </a:xfrm>
          <a:prstGeom prst="rect">
            <a:avLst/>
          </a:prstGeom>
          <a:solidFill>
            <a:schemeClr val="bg1">
              <a:lumMod val="85000"/>
            </a:schemeClr>
          </a:solidFill>
          <a:ln w="8001" cap="rnd" cmpd="sng" algn="ctr">
            <a:solidFill>
              <a:srgbClr val="FECB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7" tIns="28804" rIns="57607" bIns="288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ANNAB Management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6854FBA3-A4CE-BDA2-AC1A-36736B98F2A8}"/>
              </a:ext>
            </a:extLst>
          </p:cNvPr>
          <p:cNvSpPr>
            <a:spLocks/>
          </p:cNvSpPr>
          <p:nvPr/>
        </p:nvSpPr>
        <p:spPr>
          <a:xfrm>
            <a:off x="10107334" y="3128860"/>
            <a:ext cx="1678249" cy="350984"/>
          </a:xfrm>
          <a:prstGeom prst="rect">
            <a:avLst/>
          </a:prstGeom>
          <a:solidFill>
            <a:schemeClr val="bg1">
              <a:lumMod val="85000"/>
            </a:schemeClr>
          </a:solidFill>
          <a:ln w="8001" cap="rnd" cmpd="sng" algn="ctr">
            <a:solidFill>
              <a:srgbClr val="00999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7" tIns="28804" rIns="57607" bIns="288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IT Supply Chain</a:t>
            </a:r>
          </a:p>
        </p:txBody>
      </p:sp>
    </p:spTree>
    <p:extLst>
      <p:ext uri="{BB962C8B-B14F-4D97-AF65-F5344CB8AC3E}">
        <p14:creationId xmlns:p14="http://schemas.microsoft.com/office/powerpoint/2010/main" val="3004846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268941" y="116543"/>
            <a:ext cx="11582401" cy="6472518"/>
            <a:chOff x="-375524" y="5186759"/>
            <a:chExt cx="8157550" cy="476296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26D26133-02C0-CE0A-978C-5CBCF0930B6B}"/>
                </a:ext>
              </a:extLst>
            </p:cNvPr>
            <p:cNvSpPr/>
            <p:nvPr/>
          </p:nvSpPr>
          <p:spPr>
            <a:xfrm>
              <a:off x="-375524" y="5186759"/>
              <a:ext cx="8157550" cy="885941"/>
            </a:xfrm>
            <a:prstGeom prst="rect">
              <a:avLst/>
            </a:prstGeom>
            <a:solidFill>
              <a:schemeClr val="tx2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8293" tIns="29146" rIns="58293" bIns="2914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765" dirty="0">
                <a:solidFill>
                  <a:srgbClr val="FFFFFF"/>
                </a:solidFill>
              </a:endParaRPr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67963246-5E95-6136-A467-8F994DCC9121}"/>
                </a:ext>
              </a:extLst>
            </p:cNvPr>
            <p:cNvGrpSpPr/>
            <p:nvPr/>
          </p:nvGrpSpPr>
          <p:grpSpPr>
            <a:xfrm>
              <a:off x="540648" y="9514715"/>
              <a:ext cx="3039950" cy="435004"/>
              <a:chOff x="69075" y="6475434"/>
              <a:chExt cx="3774689" cy="566401"/>
            </a:xfrm>
          </p:grpSpPr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C9C33E65-B81C-AB7A-D1A5-2E58F36B8C0B}"/>
                  </a:ext>
                </a:extLst>
              </p:cNvPr>
              <p:cNvSpPr/>
              <p:nvPr/>
            </p:nvSpPr>
            <p:spPr>
              <a:xfrm>
                <a:off x="69075" y="6571390"/>
                <a:ext cx="3712919" cy="470445"/>
              </a:xfrm>
              <a:prstGeom prst="rect">
                <a:avLst/>
              </a:prstGeom>
              <a:noFill/>
              <a:ln w="19050" cap="rnd" cmpd="sng" algn="ctr">
                <a:solidFill>
                  <a:schemeClr val="tx2"/>
                </a:solidFill>
                <a:prstDash val="sysDot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8293" tIns="29146" rIns="58293" bIns="2914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582920">
                  <a:defRPr/>
                </a:pPr>
                <a:endParaRPr lang="en-US" sz="765" dirty="0">
                  <a:solidFill>
                    <a:srgbClr val="FFFFFF"/>
                  </a:solidFill>
                  <a:latin typeface="Trebuchet MS" panose="020B0603020202020204" pitchFamily="34" charset="0"/>
                </a:endParaRP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F4CF1DF7-097F-B741-2C1C-439CDCDF391F}"/>
                  </a:ext>
                </a:extLst>
              </p:cNvPr>
              <p:cNvSpPr txBox="1"/>
              <p:nvPr/>
            </p:nvSpPr>
            <p:spPr>
              <a:xfrm>
                <a:off x="1627853" y="6475434"/>
                <a:ext cx="655520" cy="185202"/>
              </a:xfrm>
              <a:prstGeom prst="rect">
                <a:avLst/>
              </a:prstGeom>
              <a:solidFill>
                <a:schemeClr val="bg1"/>
              </a:solidFill>
              <a:ln w="9525" cap="rnd">
                <a:noFill/>
                <a:prstDash val="solid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582920">
                  <a:defRPr/>
                </a:pPr>
                <a:r>
                  <a:rPr lang="en-US" sz="900" dirty="0">
                    <a:solidFill>
                      <a:srgbClr val="000000"/>
                    </a:solidFill>
                    <a:latin typeface="Franklin Gothic Demi" panose="020B0703020102020204" pitchFamily="34" charset="0"/>
                  </a:rPr>
                  <a:t>Legend</a:t>
                </a:r>
              </a:p>
            </p:txBody>
          </p:sp>
          <p:grpSp>
            <p:nvGrpSpPr>
              <p:cNvPr id="42" name="Group 41">
                <a:extLst>
                  <a:ext uri="{FF2B5EF4-FFF2-40B4-BE49-F238E27FC236}">
                    <a16:creationId xmlns:a16="http://schemas.microsoft.com/office/drawing/2014/main" id="{0D1C2A6B-17D3-FF5D-0E21-08590C47AAF9}"/>
                  </a:ext>
                </a:extLst>
              </p:cNvPr>
              <p:cNvGrpSpPr/>
              <p:nvPr/>
            </p:nvGrpSpPr>
            <p:grpSpPr>
              <a:xfrm>
                <a:off x="195724" y="6705010"/>
                <a:ext cx="546854" cy="228600"/>
                <a:chOff x="518723" y="6249248"/>
                <a:chExt cx="546854" cy="228600"/>
              </a:xfrm>
            </p:grpSpPr>
            <p:sp>
              <p:nvSpPr>
                <p:cNvPr id="52" name="Oval 51">
                  <a:extLst>
                    <a:ext uri="{FF2B5EF4-FFF2-40B4-BE49-F238E27FC236}">
                      <a16:creationId xmlns:a16="http://schemas.microsoft.com/office/drawing/2014/main" id="{2F8BA8FF-EF91-F12E-8098-0366438A732D}"/>
                    </a:ext>
                  </a:extLst>
                </p:cNvPr>
                <p:cNvSpPr/>
                <p:nvPr/>
              </p:nvSpPr>
              <p:spPr>
                <a:xfrm>
                  <a:off x="518723" y="6249248"/>
                  <a:ext cx="228600" cy="228600"/>
                </a:xfrm>
                <a:prstGeom prst="ellipse">
                  <a:avLst/>
                </a:prstGeom>
                <a:solidFill>
                  <a:srgbClr val="002060"/>
                </a:solidFill>
                <a:ln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58293" tIns="29146" rIns="58293" bIns="29146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582920">
                    <a:defRPr/>
                  </a:pPr>
                  <a:endParaRPr lang="en-US" sz="765" dirty="0">
                    <a:solidFill>
                      <a:srgbClr val="FFFFFF"/>
                    </a:solidFill>
                    <a:latin typeface="Trebuchet MS" panose="020B0603020202020204" pitchFamily="34" charset="0"/>
                  </a:endParaRPr>
                </a:p>
              </p:txBody>
            </p:sp>
            <p:sp>
              <p:nvSpPr>
                <p:cNvPr id="53" name="TextBox 52">
                  <a:extLst>
                    <a:ext uri="{FF2B5EF4-FFF2-40B4-BE49-F238E27FC236}">
                      <a16:creationId xmlns:a16="http://schemas.microsoft.com/office/drawing/2014/main" id="{F1FB10F7-BEB3-4C49-752A-F29D3FDE7F5D}"/>
                    </a:ext>
                  </a:extLst>
                </p:cNvPr>
                <p:cNvSpPr txBox="1"/>
                <p:nvPr/>
              </p:nvSpPr>
              <p:spPr>
                <a:xfrm>
                  <a:off x="816026" y="6279323"/>
                  <a:ext cx="249551" cy="168447"/>
                </a:xfrm>
                <a:prstGeom prst="rect">
                  <a:avLst/>
                </a:prstGeom>
                <a:noFill/>
                <a:ln w="9525" cap="rnd">
                  <a:noFill/>
                  <a:prstDash val="solid"/>
                  <a:rou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29BA74"/>
                      </a:solidFill>
                    </a14:hiddenFill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582920">
                    <a:defRPr/>
                  </a:pPr>
                  <a:r>
                    <a:rPr lang="en-US" sz="900" dirty="0">
                      <a:solidFill>
                        <a:srgbClr val="000000"/>
                      </a:solidFill>
                      <a:latin typeface="Franklin Gothic Book" panose="020B0503020102020204" pitchFamily="34" charset="0"/>
                      <a:cs typeface="Arial" panose="020B0604020202020204" pitchFamily="34" charset="0"/>
                    </a:rPr>
                    <a:t>Why</a:t>
                  </a:r>
                </a:p>
              </p:txBody>
            </p:sp>
          </p:grp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661A41B6-C26A-A2A0-FDA3-FE4227FD6B6F}"/>
                  </a:ext>
                </a:extLst>
              </p:cNvPr>
              <p:cNvGrpSpPr/>
              <p:nvPr/>
            </p:nvGrpSpPr>
            <p:grpSpPr>
              <a:xfrm>
                <a:off x="1081074" y="6705010"/>
                <a:ext cx="552704" cy="228600"/>
                <a:chOff x="1356733" y="6249248"/>
                <a:chExt cx="552704" cy="228600"/>
              </a:xfrm>
            </p:grpSpPr>
            <p:sp>
              <p:nvSpPr>
                <p:cNvPr id="50" name="Oval 49">
                  <a:extLst>
                    <a:ext uri="{FF2B5EF4-FFF2-40B4-BE49-F238E27FC236}">
                      <a16:creationId xmlns:a16="http://schemas.microsoft.com/office/drawing/2014/main" id="{F2F9F18D-66A8-2757-FA29-1FC54A93CE67}"/>
                    </a:ext>
                  </a:extLst>
                </p:cNvPr>
                <p:cNvSpPr/>
                <p:nvPr/>
              </p:nvSpPr>
              <p:spPr>
                <a:xfrm>
                  <a:off x="1356733" y="6249248"/>
                  <a:ext cx="228600" cy="228600"/>
                </a:xfrm>
                <a:prstGeom prst="ellipse">
                  <a:avLst/>
                </a:prstGeom>
                <a:solidFill>
                  <a:srgbClr val="D7EBF8"/>
                </a:solidFill>
                <a:ln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58293" tIns="29146" rIns="58293" bIns="29146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582920">
                    <a:defRPr/>
                  </a:pPr>
                  <a:endParaRPr lang="en-US" sz="765" dirty="0">
                    <a:solidFill>
                      <a:srgbClr val="FFFFFF"/>
                    </a:solidFill>
                    <a:latin typeface="Trebuchet MS" panose="020B0603020202020204" pitchFamily="34" charset="0"/>
                  </a:endParaRPr>
                </a:p>
              </p:txBody>
            </p:sp>
            <p:sp>
              <p:nvSpPr>
                <p:cNvPr id="51" name="TextBox 50">
                  <a:extLst>
                    <a:ext uri="{FF2B5EF4-FFF2-40B4-BE49-F238E27FC236}">
                      <a16:creationId xmlns:a16="http://schemas.microsoft.com/office/drawing/2014/main" id="{46E12EA9-8D5F-B202-38E3-8304A1FFA790}"/>
                    </a:ext>
                  </a:extLst>
                </p:cNvPr>
                <p:cNvSpPr txBox="1"/>
                <p:nvPr/>
              </p:nvSpPr>
              <p:spPr>
                <a:xfrm>
                  <a:off x="1654036" y="6279323"/>
                  <a:ext cx="255401" cy="168447"/>
                </a:xfrm>
                <a:prstGeom prst="rect">
                  <a:avLst/>
                </a:prstGeom>
                <a:noFill/>
                <a:ln w="9525" cap="rnd">
                  <a:noFill/>
                  <a:prstDash val="solid"/>
                  <a:rou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29BA74"/>
                      </a:solidFill>
                    </a14:hiddenFill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582920">
                    <a:defRPr/>
                  </a:pPr>
                  <a:r>
                    <a:rPr lang="en-US" sz="900" dirty="0">
                      <a:solidFill>
                        <a:srgbClr val="000000"/>
                      </a:solidFill>
                      <a:latin typeface="Franklin Gothic Book" panose="020B0503020102020204" pitchFamily="34" charset="0"/>
                      <a:cs typeface="Arial" panose="020B0604020202020204" pitchFamily="34" charset="0"/>
                    </a:rPr>
                    <a:t>How</a:t>
                  </a:r>
                </a:p>
              </p:txBody>
            </p:sp>
          </p:grpSp>
          <p:grpSp>
            <p:nvGrpSpPr>
              <p:cNvPr id="44" name="Group 43">
                <a:extLst>
                  <a:ext uri="{FF2B5EF4-FFF2-40B4-BE49-F238E27FC236}">
                    <a16:creationId xmlns:a16="http://schemas.microsoft.com/office/drawing/2014/main" id="{F301FC9A-309C-6C79-114B-CEF662792D69}"/>
                  </a:ext>
                </a:extLst>
              </p:cNvPr>
              <p:cNvGrpSpPr/>
              <p:nvPr/>
            </p:nvGrpSpPr>
            <p:grpSpPr>
              <a:xfrm>
                <a:off x="1966424" y="6705010"/>
                <a:ext cx="835779" cy="228600"/>
                <a:chOff x="2194743" y="6249248"/>
                <a:chExt cx="835779" cy="228600"/>
              </a:xfrm>
            </p:grpSpPr>
            <p:sp>
              <p:nvSpPr>
                <p:cNvPr id="48" name="Oval 47">
                  <a:extLst>
                    <a:ext uri="{FF2B5EF4-FFF2-40B4-BE49-F238E27FC236}">
                      <a16:creationId xmlns:a16="http://schemas.microsoft.com/office/drawing/2014/main" id="{DFADA7CC-5388-3FEE-4961-64AD39391631}"/>
                    </a:ext>
                  </a:extLst>
                </p:cNvPr>
                <p:cNvSpPr/>
                <p:nvPr/>
              </p:nvSpPr>
              <p:spPr>
                <a:xfrm>
                  <a:off x="2194743" y="6249248"/>
                  <a:ext cx="228600" cy="228600"/>
                </a:xfrm>
                <a:prstGeom prst="ellipse">
                  <a:avLst/>
                </a:prstGeom>
                <a:solidFill>
                  <a:srgbClr val="18364A"/>
                </a:solidFill>
                <a:ln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58293" tIns="29146" rIns="58293" bIns="29146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582920">
                    <a:defRPr/>
                  </a:pPr>
                  <a:endParaRPr lang="en-US" sz="765" dirty="0">
                    <a:solidFill>
                      <a:srgbClr val="FFFFFF"/>
                    </a:solidFill>
                    <a:latin typeface="Trebuchet MS" panose="020B0603020202020204" pitchFamily="34" charset="0"/>
                  </a:endParaRPr>
                </a:p>
              </p:txBody>
            </p:sp>
            <p:sp>
              <p:nvSpPr>
                <p:cNvPr id="49" name="TextBox 48">
                  <a:extLst>
                    <a:ext uri="{FF2B5EF4-FFF2-40B4-BE49-F238E27FC236}">
                      <a16:creationId xmlns:a16="http://schemas.microsoft.com/office/drawing/2014/main" id="{C3A28C76-55EF-06ED-3526-3C78681EA643}"/>
                    </a:ext>
                  </a:extLst>
                </p:cNvPr>
                <p:cNvSpPr txBox="1"/>
                <p:nvPr/>
              </p:nvSpPr>
              <p:spPr>
                <a:xfrm>
                  <a:off x="2511923" y="6279323"/>
                  <a:ext cx="518599" cy="168447"/>
                </a:xfrm>
                <a:prstGeom prst="rect">
                  <a:avLst/>
                </a:prstGeom>
                <a:noFill/>
                <a:ln w="9525" cap="rnd">
                  <a:noFill/>
                  <a:prstDash val="solid"/>
                  <a:rou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29BA74"/>
                      </a:solidFill>
                    </a14:hiddenFill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defTabSz="582920">
                    <a:defRPr/>
                  </a:pPr>
                  <a:r>
                    <a:rPr lang="en-US" sz="900" dirty="0">
                      <a:solidFill>
                        <a:srgbClr val="000000"/>
                      </a:solidFill>
                      <a:latin typeface="Franklin Gothic Book" panose="020B0503020102020204" pitchFamily="34" charset="0"/>
                      <a:cs typeface="Arial" panose="020B0604020202020204" pitchFamily="34" charset="0"/>
                    </a:rPr>
                    <a:t>Enablers</a:t>
                  </a:r>
                </a:p>
              </p:txBody>
            </p:sp>
          </p:grp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2EA46148-C668-A6AC-DE69-CE7A6904ECD7}"/>
                  </a:ext>
                </a:extLst>
              </p:cNvPr>
              <p:cNvGrpSpPr/>
              <p:nvPr/>
            </p:nvGrpSpPr>
            <p:grpSpPr>
              <a:xfrm>
                <a:off x="3015131" y="6701530"/>
                <a:ext cx="828633" cy="235562"/>
                <a:chOff x="3211130" y="6245768"/>
                <a:chExt cx="828633" cy="235562"/>
              </a:xfrm>
            </p:grpSpPr>
            <p:sp>
              <p:nvSpPr>
                <p:cNvPr id="46" name="Freeform: Shape 1">
                  <a:extLst>
                    <a:ext uri="{FF2B5EF4-FFF2-40B4-BE49-F238E27FC236}">
                      <a16:creationId xmlns:a16="http://schemas.microsoft.com/office/drawing/2014/main" id="{87CBDD50-4838-1330-95E4-D9958D99B5CA}"/>
                    </a:ext>
                  </a:extLst>
                </p:cNvPr>
                <p:cNvSpPr/>
                <p:nvPr/>
              </p:nvSpPr>
              <p:spPr>
                <a:xfrm rot="2127918">
                  <a:off x="3211130" y="6245768"/>
                  <a:ext cx="282639" cy="235562"/>
                </a:xfrm>
                <a:custGeom>
                  <a:avLst/>
                  <a:gdLst>
                    <a:gd name="connsiteX0" fmla="*/ 2839836 w 2839961"/>
                    <a:gd name="connsiteY0" fmla="*/ 689820 h 2366927"/>
                    <a:gd name="connsiteX1" fmla="*/ 2435043 w 2839961"/>
                    <a:gd name="connsiteY1" fmla="*/ 0 h 2366927"/>
                    <a:gd name="connsiteX2" fmla="*/ 0 w 2839961"/>
                    <a:gd name="connsiteY2" fmla="*/ 2360770 h 2366927"/>
                    <a:gd name="connsiteX3" fmla="*/ 687306 w 2839961"/>
                    <a:gd name="connsiteY3" fmla="*/ 1957359 h 2366927"/>
                    <a:gd name="connsiteX4" fmla="*/ 1385295 w 2839961"/>
                    <a:gd name="connsiteY4" fmla="*/ 2366928 h 2366927"/>
                    <a:gd name="connsiteX5" fmla="*/ 2433284 w 2839961"/>
                    <a:gd name="connsiteY5" fmla="*/ 1382782 h 2366927"/>
                    <a:gd name="connsiteX6" fmla="*/ 2839962 w 2839961"/>
                    <a:gd name="connsiteY6" fmla="*/ 689820 h 23669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839961" h="2366927">
                      <a:moveTo>
                        <a:pt x="2839836" y="689820"/>
                      </a:moveTo>
                      <a:lnTo>
                        <a:pt x="2435043" y="0"/>
                      </a:lnTo>
                      <a:cubicBezTo>
                        <a:pt x="1127791" y="23752"/>
                        <a:pt x="63339" y="1063823"/>
                        <a:pt x="0" y="2360770"/>
                      </a:cubicBezTo>
                      <a:lnTo>
                        <a:pt x="687306" y="1957359"/>
                      </a:lnTo>
                      <a:lnTo>
                        <a:pt x="1385295" y="2366928"/>
                      </a:lnTo>
                      <a:cubicBezTo>
                        <a:pt x="1442099" y="1830555"/>
                        <a:pt x="1887234" y="1406157"/>
                        <a:pt x="2433284" y="1382782"/>
                      </a:cubicBezTo>
                      <a:lnTo>
                        <a:pt x="2839962" y="689820"/>
                      </a:lnTo>
                      <a:close/>
                    </a:path>
                  </a:pathLst>
                </a:custGeom>
                <a:solidFill>
                  <a:srgbClr val="3075FF"/>
                </a:solidFill>
                <a:ln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58293" tIns="29146" rIns="58293" bIns="29146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582920">
                    <a:defRPr/>
                  </a:pPr>
                  <a:endParaRPr lang="en-US" sz="765" dirty="0">
                    <a:solidFill>
                      <a:srgbClr val="FFFFFF"/>
                    </a:solidFill>
                    <a:latin typeface="Trebuchet MS" panose="020B0603020202020204" pitchFamily="34" charset="0"/>
                  </a:endParaRPr>
                </a:p>
              </p:txBody>
            </p:sp>
            <p:sp>
              <p:nvSpPr>
                <p:cNvPr id="47" name="TextBox 46">
                  <a:extLst>
                    <a:ext uri="{FF2B5EF4-FFF2-40B4-BE49-F238E27FC236}">
                      <a16:creationId xmlns:a16="http://schemas.microsoft.com/office/drawing/2014/main" id="{2C91433C-D73C-265E-049A-0F8F218528A6}"/>
                    </a:ext>
                  </a:extLst>
                </p:cNvPr>
                <p:cNvSpPr txBox="1"/>
                <p:nvPr/>
              </p:nvSpPr>
              <p:spPr>
                <a:xfrm>
                  <a:off x="3595835" y="6271215"/>
                  <a:ext cx="443928" cy="184666"/>
                </a:xfrm>
                <a:prstGeom prst="rect">
                  <a:avLst/>
                </a:prstGeom>
                <a:noFill/>
                <a:ln w="9525" cap="rnd">
                  <a:noFill/>
                  <a:prstDash val="solid"/>
                  <a:rou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29BA74"/>
                      </a:solidFill>
                    </a14:hiddenFill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defTabSz="582920">
                    <a:defRPr/>
                  </a:pPr>
                  <a:r>
                    <a:rPr lang="en-US" sz="900" dirty="0">
                      <a:solidFill>
                        <a:srgbClr val="000000"/>
                      </a:solidFill>
                      <a:latin typeface="Franklin Gothic Book" panose="020B0503020102020204" pitchFamily="34" charset="0"/>
                      <a:cs typeface="Arial" panose="020B0604020202020204" pitchFamily="34" charset="0"/>
                    </a:rPr>
                    <a:t>What</a:t>
                  </a:r>
                </a:p>
              </p:txBody>
            </p:sp>
          </p:grpSp>
        </p:grpSp>
        <p:grpSp>
          <p:nvGrpSpPr>
            <p:cNvPr id="5" name="Group 4"/>
            <p:cNvGrpSpPr/>
            <p:nvPr/>
          </p:nvGrpSpPr>
          <p:grpSpPr>
            <a:xfrm>
              <a:off x="304195" y="6092359"/>
              <a:ext cx="3490776" cy="3506516"/>
              <a:chOff x="350641" y="1018802"/>
              <a:chExt cx="3053513" cy="3067282"/>
            </a:xfrm>
          </p:grpSpPr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74A280E7-07D5-F50B-4621-E72A0C341962}"/>
                  </a:ext>
                </a:extLst>
              </p:cNvPr>
              <p:cNvSpPr/>
              <p:nvPr/>
            </p:nvSpPr>
            <p:spPr>
              <a:xfrm>
                <a:off x="475128" y="1155037"/>
                <a:ext cx="2794812" cy="2794812"/>
              </a:xfrm>
              <a:prstGeom prst="ellipse">
                <a:avLst/>
              </a:prstGeom>
              <a:solidFill>
                <a:schemeClr val="tx2"/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8293" tIns="29146" rIns="58293" bIns="2914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582920">
                  <a:defRPr/>
                </a:pPr>
                <a:endParaRPr lang="en-US" sz="701" dirty="0">
                  <a:solidFill>
                    <a:srgbClr val="FFFFFF"/>
                  </a:solidFill>
                  <a:latin typeface="Trebuchet MS" panose="020B0603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" name="Freeform: Shape 21">
                <a:extLst>
                  <a:ext uri="{FF2B5EF4-FFF2-40B4-BE49-F238E27FC236}">
                    <a16:creationId xmlns:a16="http://schemas.microsoft.com/office/drawing/2014/main" id="{874872C4-3CEE-68A8-2B66-58BC57B9D837}"/>
                  </a:ext>
                </a:extLst>
              </p:cNvPr>
              <p:cNvSpPr/>
              <p:nvPr/>
            </p:nvSpPr>
            <p:spPr>
              <a:xfrm rot="2127918">
                <a:off x="1181172" y="2815772"/>
                <a:ext cx="1524185" cy="1270312"/>
              </a:xfrm>
              <a:custGeom>
                <a:avLst/>
                <a:gdLst>
                  <a:gd name="connsiteX0" fmla="*/ 0 w 2839961"/>
                  <a:gd name="connsiteY0" fmla="*/ 1677108 h 2366927"/>
                  <a:gd name="connsiteX1" fmla="*/ 404919 w 2839961"/>
                  <a:gd name="connsiteY1" fmla="*/ 2366928 h 2366927"/>
                  <a:gd name="connsiteX2" fmla="*/ 2839962 w 2839961"/>
                  <a:gd name="connsiteY2" fmla="*/ 6158 h 2366927"/>
                  <a:gd name="connsiteX3" fmla="*/ 2152655 w 2839961"/>
                  <a:gd name="connsiteY3" fmla="*/ 409569 h 2366927"/>
                  <a:gd name="connsiteX4" fmla="*/ 1454666 w 2839961"/>
                  <a:gd name="connsiteY4" fmla="*/ 0 h 2366927"/>
                  <a:gd name="connsiteX5" fmla="*/ 406804 w 2839961"/>
                  <a:gd name="connsiteY5" fmla="*/ 984146 h 2366927"/>
                  <a:gd name="connsiteX6" fmla="*/ 126 w 2839961"/>
                  <a:gd name="connsiteY6" fmla="*/ 1677234 h 2366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39961" h="2366927">
                    <a:moveTo>
                      <a:pt x="0" y="1677108"/>
                    </a:moveTo>
                    <a:lnTo>
                      <a:pt x="404919" y="2366928"/>
                    </a:lnTo>
                    <a:cubicBezTo>
                      <a:pt x="1712171" y="2343176"/>
                      <a:pt x="2776497" y="1303105"/>
                      <a:pt x="2839962" y="6158"/>
                    </a:cubicBezTo>
                    <a:lnTo>
                      <a:pt x="2152655" y="409569"/>
                    </a:lnTo>
                    <a:lnTo>
                      <a:pt x="1454666" y="0"/>
                    </a:lnTo>
                    <a:cubicBezTo>
                      <a:pt x="1397862" y="536373"/>
                      <a:pt x="952728" y="960771"/>
                      <a:pt x="406804" y="984146"/>
                    </a:cubicBezTo>
                    <a:lnTo>
                      <a:pt x="126" y="1677234"/>
                    </a:lnTo>
                    <a:close/>
                  </a:path>
                </a:pathLst>
              </a:custGeom>
              <a:solidFill>
                <a:schemeClr val="accent6"/>
              </a:solidFill>
              <a:ln w="0" cap="flat">
                <a:noFill/>
                <a:prstDash val="solid"/>
                <a:miter/>
              </a:ln>
            </p:spPr>
            <p:txBody>
              <a:bodyPr lIns="70534" tIns="35267" rIns="70534" bIns="35267" rtlCol="0" anchor="ctr"/>
              <a:lstStyle/>
              <a:p>
                <a:pPr defTabSz="582920">
                  <a:defRPr/>
                </a:pPr>
                <a:endParaRPr lang="en-US" sz="1020" dirty="0">
                  <a:solidFill>
                    <a:schemeClr val="bg1"/>
                  </a:solidFill>
                  <a:latin typeface="Trebuchet MS" panose="020B0603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" name="Freeform: Shape 23">
                <a:extLst>
                  <a:ext uri="{FF2B5EF4-FFF2-40B4-BE49-F238E27FC236}">
                    <a16:creationId xmlns:a16="http://schemas.microsoft.com/office/drawing/2014/main" id="{3902B69D-13A2-58F8-2066-D9CDD819D938}"/>
                  </a:ext>
                </a:extLst>
              </p:cNvPr>
              <p:cNvSpPr/>
              <p:nvPr/>
            </p:nvSpPr>
            <p:spPr>
              <a:xfrm rot="2127918">
                <a:off x="1063260" y="1018802"/>
                <a:ext cx="1524185" cy="1270312"/>
              </a:xfrm>
              <a:custGeom>
                <a:avLst/>
                <a:gdLst>
                  <a:gd name="connsiteX0" fmla="*/ 2839836 w 2839961"/>
                  <a:gd name="connsiteY0" fmla="*/ 689820 h 2366927"/>
                  <a:gd name="connsiteX1" fmla="*/ 2435043 w 2839961"/>
                  <a:gd name="connsiteY1" fmla="*/ 0 h 2366927"/>
                  <a:gd name="connsiteX2" fmla="*/ 0 w 2839961"/>
                  <a:gd name="connsiteY2" fmla="*/ 2360770 h 2366927"/>
                  <a:gd name="connsiteX3" fmla="*/ 687306 w 2839961"/>
                  <a:gd name="connsiteY3" fmla="*/ 1957359 h 2366927"/>
                  <a:gd name="connsiteX4" fmla="*/ 1385295 w 2839961"/>
                  <a:gd name="connsiteY4" fmla="*/ 2366928 h 2366927"/>
                  <a:gd name="connsiteX5" fmla="*/ 2433284 w 2839961"/>
                  <a:gd name="connsiteY5" fmla="*/ 1382782 h 2366927"/>
                  <a:gd name="connsiteX6" fmla="*/ 2839962 w 2839961"/>
                  <a:gd name="connsiteY6" fmla="*/ 689820 h 2366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39961" h="2366927">
                    <a:moveTo>
                      <a:pt x="2839836" y="689820"/>
                    </a:moveTo>
                    <a:lnTo>
                      <a:pt x="2435043" y="0"/>
                    </a:lnTo>
                    <a:cubicBezTo>
                      <a:pt x="1127791" y="23752"/>
                      <a:pt x="63339" y="1063823"/>
                      <a:pt x="0" y="2360770"/>
                    </a:cubicBezTo>
                    <a:lnTo>
                      <a:pt x="687306" y="1957359"/>
                    </a:lnTo>
                    <a:lnTo>
                      <a:pt x="1385295" y="2366928"/>
                    </a:lnTo>
                    <a:cubicBezTo>
                      <a:pt x="1442099" y="1830555"/>
                      <a:pt x="1887234" y="1406157"/>
                      <a:pt x="2433284" y="1382782"/>
                    </a:cubicBezTo>
                    <a:lnTo>
                      <a:pt x="2839962" y="689820"/>
                    </a:lnTo>
                    <a:close/>
                  </a:path>
                </a:pathLst>
              </a:custGeom>
              <a:solidFill>
                <a:schemeClr val="tx2">
                  <a:lumMod val="50000"/>
                  <a:lumOff val="50000"/>
                </a:schemeClr>
              </a:solidFill>
              <a:ln w="0" cap="flat">
                <a:noFill/>
                <a:prstDash val="solid"/>
                <a:miter/>
              </a:ln>
            </p:spPr>
            <p:txBody>
              <a:bodyPr lIns="70534" tIns="35267" rIns="70534" bIns="35267" rtlCol="0" anchor="ctr"/>
              <a:lstStyle/>
              <a:p>
                <a:pPr defTabSz="582920">
                  <a:defRPr/>
                </a:pPr>
                <a:endParaRPr lang="en-US" sz="1020" dirty="0">
                  <a:solidFill>
                    <a:srgbClr val="000000"/>
                  </a:solidFill>
                  <a:latin typeface="Trebuchet MS" panose="020B0603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0" name="Freeform: Shape 20">
                <a:extLst>
                  <a:ext uri="{FF2B5EF4-FFF2-40B4-BE49-F238E27FC236}">
                    <a16:creationId xmlns:a16="http://schemas.microsoft.com/office/drawing/2014/main" id="{2BE009A6-E269-F1E3-21A7-3A388EB3C845}"/>
                  </a:ext>
                </a:extLst>
              </p:cNvPr>
              <p:cNvSpPr/>
              <p:nvPr/>
            </p:nvSpPr>
            <p:spPr>
              <a:xfrm rot="2127918">
                <a:off x="350641" y="1849320"/>
                <a:ext cx="1270311" cy="1524119"/>
              </a:xfrm>
              <a:custGeom>
                <a:avLst/>
                <a:gdLst>
                  <a:gd name="connsiteX0" fmla="*/ 2360770 w 2366927"/>
                  <a:gd name="connsiteY0" fmla="*/ 2839836 h 2839835"/>
                  <a:gd name="connsiteX1" fmla="*/ 1957359 w 2366927"/>
                  <a:gd name="connsiteY1" fmla="*/ 2152529 h 2839835"/>
                  <a:gd name="connsiteX2" fmla="*/ 2366928 w 2366927"/>
                  <a:gd name="connsiteY2" fmla="*/ 1454541 h 2839835"/>
                  <a:gd name="connsiteX3" fmla="*/ 1382782 w 2366927"/>
                  <a:gd name="connsiteY3" fmla="*/ 406678 h 2839835"/>
                  <a:gd name="connsiteX4" fmla="*/ 689820 w 2366927"/>
                  <a:gd name="connsiteY4" fmla="*/ 0 h 2839835"/>
                  <a:gd name="connsiteX5" fmla="*/ 0 w 2366927"/>
                  <a:gd name="connsiteY5" fmla="*/ 404793 h 2839835"/>
                  <a:gd name="connsiteX6" fmla="*/ 2360770 w 2366927"/>
                  <a:gd name="connsiteY6" fmla="*/ 2839836 h 2839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66927" h="2839835">
                    <a:moveTo>
                      <a:pt x="2360770" y="2839836"/>
                    </a:moveTo>
                    <a:lnTo>
                      <a:pt x="1957359" y="2152529"/>
                    </a:lnTo>
                    <a:lnTo>
                      <a:pt x="2366928" y="1454541"/>
                    </a:lnTo>
                    <a:cubicBezTo>
                      <a:pt x="1830555" y="1397737"/>
                      <a:pt x="1406031" y="952602"/>
                      <a:pt x="1382782" y="406678"/>
                    </a:cubicBezTo>
                    <a:lnTo>
                      <a:pt x="689820" y="0"/>
                    </a:lnTo>
                    <a:lnTo>
                      <a:pt x="0" y="404793"/>
                    </a:lnTo>
                    <a:cubicBezTo>
                      <a:pt x="23752" y="1712045"/>
                      <a:pt x="1063823" y="2776497"/>
                      <a:pt x="2360770" y="2839836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 w="0" cap="flat">
                <a:noFill/>
                <a:prstDash val="solid"/>
                <a:miter/>
              </a:ln>
            </p:spPr>
            <p:txBody>
              <a:bodyPr lIns="70534" tIns="35267" rIns="70534" bIns="35267" rtlCol="0" anchor="ctr"/>
              <a:lstStyle/>
              <a:p>
                <a:pPr defTabSz="582920">
                  <a:defRPr/>
                </a:pPr>
                <a:endParaRPr lang="en-US" sz="1020" dirty="0">
                  <a:solidFill>
                    <a:srgbClr val="000000"/>
                  </a:solidFill>
                  <a:latin typeface="Trebuchet MS" panose="020B0603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1" name="Freeform: Shape 22">
                <a:extLst>
                  <a:ext uri="{FF2B5EF4-FFF2-40B4-BE49-F238E27FC236}">
                    <a16:creationId xmlns:a16="http://schemas.microsoft.com/office/drawing/2014/main" id="{13C400D7-AE2A-CBA4-B5D1-45F644D928B7}"/>
                  </a:ext>
                </a:extLst>
              </p:cNvPr>
              <p:cNvSpPr/>
              <p:nvPr/>
            </p:nvSpPr>
            <p:spPr>
              <a:xfrm rot="2127918">
                <a:off x="2133843" y="1743984"/>
                <a:ext cx="1270311" cy="1524186"/>
              </a:xfrm>
              <a:custGeom>
                <a:avLst/>
                <a:gdLst>
                  <a:gd name="connsiteX0" fmla="*/ 2366928 w 2366927"/>
                  <a:gd name="connsiteY0" fmla="*/ 2435043 h 2839961"/>
                  <a:gd name="connsiteX1" fmla="*/ 6158 w 2366927"/>
                  <a:gd name="connsiteY1" fmla="*/ 0 h 2839961"/>
                  <a:gd name="connsiteX2" fmla="*/ 409569 w 2366927"/>
                  <a:gd name="connsiteY2" fmla="*/ 687306 h 2839961"/>
                  <a:gd name="connsiteX3" fmla="*/ 0 w 2366927"/>
                  <a:gd name="connsiteY3" fmla="*/ 1385295 h 2839961"/>
                  <a:gd name="connsiteX4" fmla="*/ 984146 w 2366927"/>
                  <a:gd name="connsiteY4" fmla="*/ 2433284 h 2839961"/>
                  <a:gd name="connsiteX5" fmla="*/ 1677108 w 2366927"/>
                  <a:gd name="connsiteY5" fmla="*/ 2839962 h 2839961"/>
                  <a:gd name="connsiteX6" fmla="*/ 2366928 w 2366927"/>
                  <a:gd name="connsiteY6" fmla="*/ 2435043 h 28399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66927" h="2839961">
                    <a:moveTo>
                      <a:pt x="2366928" y="2435043"/>
                    </a:moveTo>
                    <a:cubicBezTo>
                      <a:pt x="2343301" y="1127791"/>
                      <a:pt x="1303105" y="63339"/>
                      <a:pt x="6158" y="0"/>
                    </a:cubicBezTo>
                    <a:lnTo>
                      <a:pt x="409569" y="687306"/>
                    </a:lnTo>
                    <a:lnTo>
                      <a:pt x="0" y="1385295"/>
                    </a:lnTo>
                    <a:cubicBezTo>
                      <a:pt x="536499" y="1442099"/>
                      <a:pt x="960771" y="1887108"/>
                      <a:pt x="984146" y="2433284"/>
                    </a:cubicBezTo>
                    <a:lnTo>
                      <a:pt x="1677108" y="2839962"/>
                    </a:lnTo>
                    <a:lnTo>
                      <a:pt x="2366928" y="2435043"/>
                    </a:ln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 w="0" cap="flat">
                <a:noFill/>
                <a:prstDash val="solid"/>
                <a:miter/>
              </a:ln>
            </p:spPr>
            <p:txBody>
              <a:bodyPr lIns="70534" tIns="35267" rIns="70534" bIns="35267" rtlCol="0" anchor="ctr"/>
              <a:lstStyle/>
              <a:p>
                <a:pPr defTabSz="582920">
                  <a:defRPr/>
                </a:pPr>
                <a:endParaRPr lang="en-US" sz="1020" dirty="0">
                  <a:solidFill>
                    <a:srgbClr val="000000"/>
                  </a:solidFill>
                  <a:latin typeface="Trebuchet MS" panose="020B0603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22" name="Group 21"/>
              <p:cNvGrpSpPr/>
              <p:nvPr/>
            </p:nvGrpSpPr>
            <p:grpSpPr>
              <a:xfrm>
                <a:off x="821357" y="1493982"/>
                <a:ext cx="2108190" cy="2181333"/>
                <a:chOff x="821357" y="1493982"/>
                <a:chExt cx="2108190" cy="2181333"/>
              </a:xfrm>
            </p:grpSpPr>
            <p:sp>
              <p:nvSpPr>
                <p:cNvPr id="23" name="TextBox 22">
                  <a:extLst>
                    <a:ext uri="{FF2B5EF4-FFF2-40B4-BE49-F238E27FC236}">
                      <a16:creationId xmlns:a16="http://schemas.microsoft.com/office/drawing/2014/main" id="{6026FC77-C8DC-39B7-F963-D42EC7FC1CB9}"/>
                    </a:ext>
                  </a:extLst>
                </p:cNvPr>
                <p:cNvSpPr txBox="1"/>
                <p:nvPr/>
              </p:nvSpPr>
              <p:spPr>
                <a:xfrm>
                  <a:off x="1228148" y="3071570"/>
                  <a:ext cx="1290072" cy="603745"/>
                </a:xfrm>
                <a:prstGeom prst="rect">
                  <a:avLst/>
                </a:prstGeom>
                <a:noFill/>
                <a:ln w="9525" cap="rnd">
                  <a:noFill/>
                  <a:prstDash val="solid"/>
                  <a:rou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29BA74"/>
                      </a:solidFill>
                    </a14:hiddenFill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1" vertOverflow="overflow" horzOverflow="overflow" vert="horz" wrap="none" lIns="0" tIns="0" rIns="0" bIns="0" numCol="1" spcCol="0" rtlCol="0" fromWordArt="0" anchor="ctr" anchorCtr="0" forceAA="0" compatLnSpc="1">
                  <a:prstTxWarp prst="textArchDown">
                    <a:avLst>
                      <a:gd name="adj" fmla="val 17231"/>
                    </a:avLst>
                  </a:prstTxWarp>
                  <a:noAutofit/>
                </a:bodyPr>
                <a:lstStyle/>
                <a:p>
                  <a:pPr algn="ctr" defTabSz="582920">
                    <a:defRPr/>
                  </a:pPr>
                  <a:r>
                    <a:rPr lang="en-US" sz="1400" b="1" dirty="0">
                      <a:solidFill>
                        <a:schemeClr val="bg1"/>
                      </a:solidFill>
                      <a:latin typeface="Franklin Gothic Demi" panose="020B0703020102020204" pitchFamily="34" charset="0"/>
                      <a:cs typeface="Arial" panose="020B0604020202020204" pitchFamily="34" charset="0"/>
                    </a:rPr>
                    <a:t>  </a:t>
                  </a:r>
                  <a:r>
                    <a:rPr lang="en-US" sz="1400" dirty="0" smtClean="0">
                      <a:solidFill>
                        <a:schemeClr val="bg1"/>
                      </a:solidFill>
                      <a:latin typeface="Franklin Gothic Demi" panose="020B0703020102020204" pitchFamily="34" charset="0"/>
                      <a:cs typeface="Arial" panose="020B0604020202020204" pitchFamily="34" charset="0"/>
                    </a:rPr>
                    <a:t>Industrial</a:t>
                  </a:r>
                  <a:r>
                    <a:rPr lang="en-US" sz="1400" b="1" dirty="0" smtClean="0">
                      <a:solidFill>
                        <a:schemeClr val="bg1"/>
                      </a:solidFill>
                      <a:latin typeface="Franklin Gothic Demi" panose="020B0703020102020204" pitchFamily="34" charset="0"/>
                      <a:cs typeface="Arial" panose="020B0604020202020204" pitchFamily="34" charset="0"/>
                    </a:rPr>
                    <a:t> Partners</a:t>
                  </a:r>
                  <a:endParaRPr lang="en-US" sz="1400" b="1" dirty="0">
                    <a:solidFill>
                      <a:schemeClr val="bg1"/>
                    </a:solidFill>
                    <a:latin typeface="Franklin Gothic Demi" panose="020B07030201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" name="Oval 23">
                  <a:extLst>
                    <a:ext uri="{FF2B5EF4-FFF2-40B4-BE49-F238E27FC236}">
                      <a16:creationId xmlns:a16="http://schemas.microsoft.com/office/drawing/2014/main" id="{49835215-9AEF-880C-C7FB-DD2D9AB07982}"/>
                    </a:ext>
                  </a:extLst>
                </p:cNvPr>
                <p:cNvSpPr/>
                <p:nvPr/>
              </p:nvSpPr>
              <p:spPr>
                <a:xfrm>
                  <a:off x="1042740" y="1722649"/>
                  <a:ext cx="1659588" cy="1659588"/>
                </a:xfrm>
                <a:prstGeom prst="ellipse">
                  <a:avLst/>
                </a:prstGeom>
                <a:solidFill>
                  <a:srgbClr val="18364A"/>
                </a:solidFill>
                <a:ln w="31750" cap="rnd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58293" tIns="29146" rIns="58293" bIns="29146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582920">
                    <a:defRPr/>
                  </a:pPr>
                  <a:endParaRPr lang="en-US" sz="893" dirty="0">
                    <a:solidFill>
                      <a:srgbClr val="FFFFFF"/>
                    </a:solidFill>
                    <a:latin typeface="Trebuchet MS" panose="020B0603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5" name="Oval 24">
                  <a:extLst>
                    <a:ext uri="{FF2B5EF4-FFF2-40B4-BE49-F238E27FC236}">
                      <a16:creationId xmlns:a16="http://schemas.microsoft.com/office/drawing/2014/main" id="{F6D73AD8-1AAB-B50D-830B-CC5F5EC1765D}"/>
                    </a:ext>
                  </a:extLst>
                </p:cNvPr>
                <p:cNvSpPr/>
                <p:nvPr/>
              </p:nvSpPr>
              <p:spPr>
                <a:xfrm>
                  <a:off x="1221943" y="1912659"/>
                  <a:ext cx="1279567" cy="1279567"/>
                </a:xfrm>
                <a:prstGeom prst="ellipse">
                  <a:avLst/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31750" cap="rnd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58293" tIns="29146" rIns="58293" bIns="29146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582920">
                    <a:defRPr/>
                  </a:pPr>
                  <a:endParaRPr lang="en-US" sz="893" dirty="0">
                    <a:solidFill>
                      <a:srgbClr val="FFFFFF"/>
                    </a:solidFill>
                    <a:latin typeface="Franklin Gothic Demi" panose="020B07030201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6" name="Group 25"/>
                <p:cNvGrpSpPr/>
                <p:nvPr/>
              </p:nvGrpSpPr>
              <p:grpSpPr>
                <a:xfrm>
                  <a:off x="1168102" y="1841910"/>
                  <a:ext cx="1400407" cy="1439204"/>
                  <a:chOff x="1168102" y="1841910"/>
                  <a:chExt cx="1400407" cy="1439204"/>
                </a:xfrm>
              </p:grpSpPr>
              <p:sp>
                <p:nvSpPr>
                  <p:cNvPr id="37" name="TextBox 36">
                    <a:extLst>
                      <a:ext uri="{FF2B5EF4-FFF2-40B4-BE49-F238E27FC236}">
                        <a16:creationId xmlns:a16="http://schemas.microsoft.com/office/drawing/2014/main" id="{176248ED-C3FE-3EEA-30AC-9C02895EE331}"/>
                      </a:ext>
                    </a:extLst>
                  </p:cNvPr>
                  <p:cNvSpPr txBox="1"/>
                  <p:nvPr/>
                </p:nvSpPr>
                <p:spPr>
                  <a:xfrm rot="14756265" flipH="1" flipV="1">
                    <a:off x="905143" y="2561308"/>
                    <a:ext cx="936228" cy="410310"/>
                  </a:xfrm>
                  <a:prstGeom prst="rect">
                    <a:avLst/>
                  </a:prstGeom>
                  <a:noFill/>
                  <a:ln w="9525" cap="rnd">
                    <a:noFill/>
                    <a:prstDash val="solid"/>
                    <a:rou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29BA74"/>
                        </a:solidFill>
                      </a14:hiddenFill>
                    </a:ext>
                  </a:ex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1" vertOverflow="overflow" horzOverflow="overflow" vert="horz" wrap="none" lIns="0" tIns="0" rIns="0" bIns="0" numCol="1" spcCol="0" rtlCol="0" fromWordArt="0" anchor="ctr" anchorCtr="0" forceAA="0" compatLnSpc="1">
                    <a:prstTxWarp prst="textArchDown">
                      <a:avLst/>
                    </a:prstTxWarp>
                    <a:noAutofit/>
                  </a:bodyPr>
                  <a:lstStyle/>
                  <a:p>
                    <a:pPr algn="ctr" defTabSz="582920">
                      <a:defRPr/>
                    </a:pPr>
                    <a:r>
                      <a:rPr lang="en-US" sz="900" dirty="0">
                        <a:solidFill>
                          <a:srgbClr val="FFFFFF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rPr>
                      <a:t>Working Capital Fund</a:t>
                    </a:r>
                  </a:p>
                </p:txBody>
              </p:sp>
              <p:sp>
                <p:nvSpPr>
                  <p:cNvPr id="38" name="TextBox 37">
                    <a:extLst>
                      <a:ext uri="{FF2B5EF4-FFF2-40B4-BE49-F238E27FC236}">
                        <a16:creationId xmlns:a16="http://schemas.microsoft.com/office/drawing/2014/main" id="{93380590-3DBC-3191-94D9-3BADECF0C2A8}"/>
                      </a:ext>
                    </a:extLst>
                  </p:cNvPr>
                  <p:cNvSpPr txBox="1"/>
                  <p:nvPr/>
                </p:nvSpPr>
                <p:spPr>
                  <a:xfrm rot="6755223" flipH="1" flipV="1">
                    <a:off x="1630942" y="2343547"/>
                    <a:ext cx="1131221" cy="743913"/>
                  </a:xfrm>
                  <a:prstGeom prst="rect">
                    <a:avLst/>
                  </a:prstGeom>
                  <a:noFill/>
                  <a:ln w="9525" cap="rnd">
                    <a:noFill/>
                    <a:prstDash val="solid"/>
                    <a:rou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29BA74"/>
                        </a:solidFill>
                      </a14:hiddenFill>
                    </a:ext>
                  </a:ex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1" vertOverflow="overflow" horzOverflow="overflow" vert="horz" wrap="none" lIns="0" tIns="0" rIns="0" bIns="0" numCol="1" spcCol="0" rtlCol="0" fromWordArt="0" anchor="ctr" anchorCtr="0" forceAA="0" compatLnSpc="1">
                    <a:prstTxWarp prst="textArchDown">
                      <a:avLst/>
                    </a:prstTxWarp>
                    <a:noAutofit/>
                  </a:bodyPr>
                  <a:lstStyle/>
                  <a:p>
                    <a:pPr algn="ctr" defTabSz="582920">
                      <a:defRPr/>
                    </a:pPr>
                    <a:r>
                      <a:rPr lang="en-US" sz="900" dirty="0">
                        <a:solidFill>
                          <a:srgbClr val="FFFFFF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rPr>
                      <a:t>Acquisition Excellence</a:t>
                    </a:r>
                  </a:p>
                </p:txBody>
              </p:sp>
              <p:sp>
                <p:nvSpPr>
                  <p:cNvPr id="39" name="TextBox 38">
                    <a:extLst>
                      <a:ext uri="{FF2B5EF4-FFF2-40B4-BE49-F238E27FC236}">
                        <a16:creationId xmlns:a16="http://schemas.microsoft.com/office/drawing/2014/main" id="{53B6B5A8-C138-65A4-E257-801D7194482B}"/>
                      </a:ext>
                    </a:extLst>
                  </p:cNvPr>
                  <p:cNvSpPr txBox="1"/>
                  <p:nvPr/>
                </p:nvSpPr>
                <p:spPr>
                  <a:xfrm rot="156834">
                    <a:off x="1396919" y="1841910"/>
                    <a:ext cx="984026" cy="571375"/>
                  </a:xfrm>
                  <a:prstGeom prst="rect">
                    <a:avLst/>
                  </a:prstGeom>
                  <a:noFill/>
                  <a:ln w="9525" cap="rnd">
                    <a:noFill/>
                    <a:prstDash val="solid"/>
                    <a:rou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29BA74"/>
                        </a:solidFill>
                      </a14:hiddenFill>
                    </a:ext>
                  </a:ex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1" vertOverflow="overflow" horzOverflow="overflow" vert="horz" wrap="none" lIns="0" tIns="0" rIns="0" bIns="0" numCol="1" spcCol="0" rtlCol="0" fromWordArt="0" anchor="ctr" anchorCtr="0" forceAA="0" compatLnSpc="1">
                    <a:prstTxWarp prst="textArchUp">
                      <a:avLst>
                        <a:gd name="adj" fmla="val 11153772"/>
                      </a:avLst>
                    </a:prstTxWarp>
                    <a:noAutofit/>
                  </a:bodyPr>
                  <a:lstStyle/>
                  <a:p>
                    <a:pPr algn="ctr" defTabSz="582920">
                      <a:defRPr/>
                    </a:pPr>
                    <a:r>
                      <a:rPr lang="en-US" sz="900" dirty="0">
                        <a:solidFill>
                          <a:srgbClr val="FFFFFF"/>
                        </a:solidFill>
                        <a:latin typeface="Franklin Gothic Book" panose="020B0503020102020204" pitchFamily="34" charset="0"/>
                        <a:cs typeface="Arial" panose="020B0604020202020204" pitchFamily="34" charset="0"/>
                      </a:rPr>
                      <a:t>Process Alignment</a:t>
                    </a:r>
                  </a:p>
                </p:txBody>
              </p:sp>
            </p:grpSp>
            <p:sp>
              <p:nvSpPr>
                <p:cNvPr id="27" name="TextBox 26">
                  <a:extLst>
                    <a:ext uri="{FF2B5EF4-FFF2-40B4-BE49-F238E27FC236}">
                      <a16:creationId xmlns:a16="http://schemas.microsoft.com/office/drawing/2014/main" id="{837CDA95-B746-5C63-DB54-3D7936E5C8CD}"/>
                    </a:ext>
                  </a:extLst>
                </p:cNvPr>
                <p:cNvSpPr txBox="1"/>
                <p:nvPr/>
              </p:nvSpPr>
              <p:spPr>
                <a:xfrm rot="16200000" flipH="1" flipV="1">
                  <a:off x="1220561" y="2169142"/>
                  <a:ext cx="936228" cy="743913"/>
                </a:xfrm>
                <a:prstGeom prst="rect">
                  <a:avLst/>
                </a:prstGeom>
                <a:noFill/>
                <a:ln w="9525" cap="rnd">
                  <a:noFill/>
                  <a:prstDash val="solid"/>
                  <a:rou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29BA74"/>
                      </a:solidFill>
                    </a14:hiddenFill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1" vertOverflow="overflow" horzOverflow="overflow" vert="horz" wrap="none" lIns="0" tIns="0" rIns="0" bIns="0" numCol="1" spcCol="0" rtlCol="0" fromWordArt="0" anchor="ctr" anchorCtr="0" forceAA="0" compatLnSpc="1">
                  <a:prstTxWarp prst="textArchDown">
                    <a:avLst/>
                  </a:prstTxWarp>
                  <a:noAutofit/>
                </a:bodyPr>
                <a:lstStyle/>
                <a:p>
                  <a:pPr algn="ctr" defTabSz="582920">
                    <a:defRPr/>
                  </a:pPr>
                  <a:r>
                    <a:rPr lang="en-US" sz="1100" dirty="0">
                      <a:solidFill>
                        <a:srgbClr val="002060"/>
                      </a:solidFill>
                      <a:latin typeface="Franklin Gothic Demi" panose="020B0703020102020204" pitchFamily="34" charset="0"/>
                      <a:cs typeface="Arial" panose="020B0604020202020204" pitchFamily="34" charset="0"/>
                    </a:rPr>
                    <a:t>NAVAIR</a:t>
                  </a:r>
                </a:p>
              </p:txBody>
            </p:sp>
            <p:sp>
              <p:nvSpPr>
                <p:cNvPr id="28" name="TextBox 27">
                  <a:extLst>
                    <a:ext uri="{FF2B5EF4-FFF2-40B4-BE49-F238E27FC236}">
                      <a16:creationId xmlns:a16="http://schemas.microsoft.com/office/drawing/2014/main" id="{A0943304-56A2-844C-164A-EEE3E373AF43}"/>
                    </a:ext>
                  </a:extLst>
                </p:cNvPr>
                <p:cNvSpPr txBox="1"/>
                <p:nvPr/>
              </p:nvSpPr>
              <p:spPr>
                <a:xfrm rot="10800000" flipH="1" flipV="1">
                  <a:off x="1396409" y="2420788"/>
                  <a:ext cx="936228" cy="677811"/>
                </a:xfrm>
                <a:prstGeom prst="rect">
                  <a:avLst/>
                </a:prstGeom>
                <a:noFill/>
                <a:ln w="9525" cap="rnd">
                  <a:noFill/>
                  <a:prstDash val="solid"/>
                  <a:rou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29BA74"/>
                      </a:solidFill>
                    </a14:hiddenFill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1" vertOverflow="overflow" horzOverflow="overflow" vert="horz" wrap="none" lIns="0" tIns="0" rIns="0" bIns="0" numCol="1" spcCol="0" rtlCol="0" fromWordArt="0" anchor="ctr" anchorCtr="0" forceAA="0" compatLnSpc="1">
                  <a:prstTxWarp prst="textArchDown">
                    <a:avLst/>
                  </a:prstTxWarp>
                  <a:noAutofit/>
                </a:bodyPr>
                <a:lstStyle/>
                <a:p>
                  <a:pPr algn="ctr" defTabSz="582920">
                    <a:defRPr/>
                  </a:pPr>
                  <a:r>
                    <a:rPr lang="en-US" sz="1100" dirty="0">
                      <a:solidFill>
                        <a:srgbClr val="002060"/>
                      </a:solidFill>
                      <a:latin typeface="Franklin Gothic Demi" panose="020B0703020102020204" pitchFamily="34" charset="0"/>
                      <a:cs typeface="Arial" panose="020B0604020202020204" pitchFamily="34" charset="0"/>
                    </a:rPr>
                    <a:t>NAVSUP</a:t>
                  </a:r>
                </a:p>
              </p:txBody>
            </p:sp>
            <p:sp>
              <p:nvSpPr>
                <p:cNvPr id="29" name="TextBox 28">
                  <a:extLst>
                    <a:ext uri="{FF2B5EF4-FFF2-40B4-BE49-F238E27FC236}">
                      <a16:creationId xmlns:a16="http://schemas.microsoft.com/office/drawing/2014/main" id="{7CC0E665-F60E-BDBE-A085-F4A5F746E4AB}"/>
                    </a:ext>
                  </a:extLst>
                </p:cNvPr>
                <p:cNvSpPr txBox="1"/>
                <p:nvPr/>
              </p:nvSpPr>
              <p:spPr>
                <a:xfrm>
                  <a:off x="1500709" y="1493982"/>
                  <a:ext cx="773494" cy="485375"/>
                </a:xfrm>
                <a:prstGeom prst="rect">
                  <a:avLst/>
                </a:prstGeom>
                <a:noFill/>
                <a:ln w="9525" cap="rnd">
                  <a:noFill/>
                  <a:prstDash val="solid"/>
                  <a:rou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29BA74"/>
                      </a:solidFill>
                    </a14:hiddenFill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1" vertOverflow="overflow" horzOverflow="overflow" vert="horz" wrap="none" lIns="0" tIns="0" rIns="0" bIns="0" numCol="1" spcCol="0" rtlCol="0" fromWordArt="0" anchor="ctr" anchorCtr="0" forceAA="0" compatLnSpc="1">
                  <a:prstTxWarp prst="textArchUp">
                    <a:avLst/>
                  </a:prstTxWarp>
                  <a:noAutofit/>
                </a:bodyPr>
                <a:lstStyle/>
                <a:p>
                  <a:pPr algn="ctr" defTabSz="582920">
                    <a:defRPr/>
                  </a:pPr>
                  <a:r>
                    <a:rPr lang="en-US" sz="1400" dirty="0">
                      <a:solidFill>
                        <a:srgbClr val="FFFFFF"/>
                      </a:solidFill>
                      <a:latin typeface="Franklin Gothic Demi" panose="020B0703020102020204" pitchFamily="34" charset="0"/>
                      <a:cs typeface="Arial" panose="020B0604020202020204" pitchFamily="34" charset="0"/>
                    </a:rPr>
                    <a:t>Retail</a:t>
                  </a: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6B631D39-F49E-08E8-6DBD-8BA845B9FE4E}"/>
                    </a:ext>
                  </a:extLst>
                </p:cNvPr>
                <p:cNvSpPr txBox="1"/>
                <p:nvPr/>
              </p:nvSpPr>
              <p:spPr>
                <a:xfrm rot="5400000">
                  <a:off x="2147276" y="2290486"/>
                  <a:ext cx="1023487" cy="541055"/>
                </a:xfrm>
                <a:prstGeom prst="rect">
                  <a:avLst/>
                </a:prstGeom>
                <a:noFill/>
                <a:ln w="9525" cap="rnd">
                  <a:noFill/>
                  <a:prstDash val="solid"/>
                  <a:rou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29BA74"/>
                      </a:solidFill>
                    </a14:hiddenFill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1" vertOverflow="overflow" horzOverflow="overflow" vert="horz" wrap="none" lIns="0" tIns="0" rIns="0" bIns="0" numCol="1" spcCol="0" rtlCol="0" fromWordArt="0" anchor="ctr" anchorCtr="0" forceAA="0" compatLnSpc="1">
                  <a:prstTxWarp prst="textArchUp">
                    <a:avLst/>
                  </a:prstTxWarp>
                  <a:noAutofit/>
                </a:bodyPr>
                <a:lstStyle/>
                <a:p>
                  <a:pPr algn="ctr" defTabSz="582920">
                    <a:defRPr/>
                  </a:pPr>
                  <a:r>
                    <a:rPr lang="en-US" sz="1400" dirty="0">
                      <a:solidFill>
                        <a:srgbClr val="000000"/>
                      </a:solidFill>
                      <a:latin typeface="Franklin Gothic Demi" panose="020B0703020102020204" pitchFamily="34" charset="0"/>
                      <a:cs typeface="Arial" panose="020B0604020202020204" pitchFamily="34" charset="0"/>
                    </a:rPr>
                    <a:t>Wholesale</a:t>
                  </a:r>
                </a:p>
              </p:txBody>
            </p:sp>
            <p:sp>
              <p:nvSpPr>
                <p:cNvPr id="31" name="TextBox 30">
                  <a:extLst>
                    <a:ext uri="{FF2B5EF4-FFF2-40B4-BE49-F238E27FC236}">
                      <a16:creationId xmlns:a16="http://schemas.microsoft.com/office/drawing/2014/main" id="{F24156B1-60B8-F505-8080-D7797D87ADF1}"/>
                    </a:ext>
                  </a:extLst>
                </p:cNvPr>
                <p:cNvSpPr txBox="1"/>
                <p:nvPr/>
              </p:nvSpPr>
              <p:spPr>
                <a:xfrm rot="5400000" flipH="1" flipV="1">
                  <a:off x="571825" y="2298803"/>
                  <a:ext cx="1023487" cy="524423"/>
                </a:xfrm>
                <a:prstGeom prst="rect">
                  <a:avLst/>
                </a:prstGeom>
                <a:noFill/>
                <a:ln w="9525" cap="rnd">
                  <a:noFill/>
                  <a:prstDash val="solid"/>
                  <a:rou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29BA74"/>
                      </a:solidFill>
                    </a14:hiddenFill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1" vertOverflow="overflow" horzOverflow="overflow" vert="horz" wrap="none" lIns="0" tIns="0" rIns="0" bIns="0" numCol="1" spcCol="0" rtlCol="0" fromWordArt="0" anchor="ctr" anchorCtr="0" forceAA="0" compatLnSpc="1">
                  <a:prstTxWarp prst="textArchUp">
                    <a:avLst/>
                  </a:prstTxWarp>
                  <a:noAutofit/>
                </a:bodyPr>
                <a:lstStyle/>
                <a:p>
                  <a:pPr algn="ctr" defTabSz="582920">
                    <a:defRPr/>
                  </a:pPr>
                  <a:r>
                    <a:rPr lang="en-US" sz="1400" dirty="0">
                      <a:solidFill>
                        <a:srgbClr val="FFFFFF"/>
                      </a:solidFill>
                      <a:latin typeface="Franklin Gothic Demi" panose="020B0703020102020204" pitchFamily="34" charset="0"/>
                      <a:cs typeface="Arial" panose="020B0604020202020204" pitchFamily="34" charset="0"/>
                    </a:rPr>
                    <a:t>Repair</a:t>
                  </a:r>
                </a:p>
              </p:txBody>
            </p:sp>
            <p:sp>
              <p:nvSpPr>
                <p:cNvPr id="32" name="Oval 31">
                  <a:extLst>
                    <a:ext uri="{FF2B5EF4-FFF2-40B4-BE49-F238E27FC236}">
                      <a16:creationId xmlns:a16="http://schemas.microsoft.com/office/drawing/2014/main" id="{BF1E036B-646B-309D-DABE-255E047A9713}"/>
                    </a:ext>
                  </a:extLst>
                </p:cNvPr>
                <p:cNvSpPr/>
                <p:nvPr/>
              </p:nvSpPr>
              <p:spPr>
                <a:xfrm>
                  <a:off x="1445307" y="2136024"/>
                  <a:ext cx="832837" cy="832837"/>
                </a:xfrm>
                <a:prstGeom prst="ellipse">
                  <a:avLst/>
                </a:prstGeom>
                <a:solidFill>
                  <a:schemeClr val="tx2"/>
                </a:solidFill>
                <a:ln w="31750" cap="rnd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58293" tIns="29146" rIns="58293" bIns="29146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582920">
                    <a:defRPr/>
                  </a:pPr>
                  <a:endParaRPr lang="en-US" sz="1020" dirty="0">
                    <a:solidFill>
                      <a:srgbClr val="FFFFFF"/>
                    </a:solidFill>
                    <a:latin typeface="Trebuchet MS" panose="020B0603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3" name="TextBox 32">
                  <a:extLst>
                    <a:ext uri="{FF2B5EF4-FFF2-40B4-BE49-F238E27FC236}">
                      <a16:creationId xmlns:a16="http://schemas.microsoft.com/office/drawing/2014/main" id="{8535AB01-B9B3-B50E-05E6-C39EA794075D}"/>
                    </a:ext>
                  </a:extLst>
                </p:cNvPr>
                <p:cNvSpPr txBox="1"/>
                <p:nvPr/>
              </p:nvSpPr>
              <p:spPr>
                <a:xfrm>
                  <a:off x="1396408" y="2050730"/>
                  <a:ext cx="936228" cy="639756"/>
                </a:xfrm>
                <a:prstGeom prst="rect">
                  <a:avLst/>
                </a:prstGeom>
                <a:noFill/>
                <a:ln w="9525" cap="rnd">
                  <a:noFill/>
                  <a:prstDash val="solid"/>
                  <a:rou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29BA74"/>
                      </a:solidFill>
                    </a14:hiddenFill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1" vertOverflow="overflow" horzOverflow="overflow" vert="horz" wrap="none" lIns="0" tIns="0" rIns="0" bIns="0" numCol="1" spcCol="0" rtlCol="0" fromWordArt="0" anchor="ctr" anchorCtr="0" forceAA="0" compatLnSpc="1">
                  <a:prstTxWarp prst="textArchUp">
                    <a:avLst/>
                  </a:prstTxWarp>
                  <a:noAutofit/>
                </a:bodyPr>
                <a:lstStyle/>
                <a:p>
                  <a:pPr algn="ctr" defTabSz="582920">
                    <a:defRPr/>
                  </a:pPr>
                  <a:r>
                    <a:rPr lang="en-US" sz="1100" dirty="0">
                      <a:solidFill>
                        <a:srgbClr val="002060"/>
                      </a:solidFill>
                      <a:latin typeface="Franklin Gothic Demi" panose="020B0703020102020204" pitchFamily="34" charset="0"/>
                      <a:cs typeface="Arial" panose="020B0604020202020204" pitchFamily="34" charset="0"/>
                    </a:rPr>
                    <a:t>NAVSEA</a:t>
                  </a: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26031F56-26FC-336E-D13C-888480934BE4}"/>
                    </a:ext>
                  </a:extLst>
                </p:cNvPr>
                <p:cNvSpPr txBox="1"/>
                <p:nvPr/>
              </p:nvSpPr>
              <p:spPr>
                <a:xfrm>
                  <a:off x="1625751" y="2276610"/>
                  <a:ext cx="471949" cy="471949"/>
                </a:xfrm>
                <a:prstGeom prst="rect">
                  <a:avLst/>
                </a:prstGeom>
                <a:noFill/>
                <a:ln w="9525" cap="rnd">
                  <a:noFill/>
                  <a:prstDash val="solid"/>
                  <a:rou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29BA74"/>
                      </a:solidFill>
                    </a14:hiddenFill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non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582920">
                    <a:defRPr/>
                  </a:pPr>
                  <a:r>
                    <a:rPr lang="en-US" sz="1200" dirty="0">
                      <a:solidFill>
                        <a:srgbClr val="FFFFFF"/>
                      </a:solidFill>
                      <a:latin typeface="Franklin Gothic Demi" panose="020B0703020102020204" pitchFamily="34" charset="0"/>
                      <a:cs typeface="Arial" panose="020B0604020202020204" pitchFamily="34" charset="0"/>
                    </a:rPr>
                    <a:t>Sustainment</a:t>
                  </a:r>
                </a:p>
              </p:txBody>
            </p:sp>
            <p:sp>
              <p:nvSpPr>
                <p:cNvPr id="35" name="TextBox 34">
                  <a:extLst>
                    <a:ext uri="{FF2B5EF4-FFF2-40B4-BE49-F238E27FC236}">
                      <a16:creationId xmlns:a16="http://schemas.microsoft.com/office/drawing/2014/main" id="{AB02348E-3AAA-4905-02E1-6841FDEB974C}"/>
                    </a:ext>
                  </a:extLst>
                </p:cNvPr>
                <p:cNvSpPr txBox="1"/>
                <p:nvPr/>
              </p:nvSpPr>
              <p:spPr>
                <a:xfrm rot="5400000" flipH="1" flipV="1">
                  <a:off x="1574123" y="2169724"/>
                  <a:ext cx="936228" cy="742747"/>
                </a:xfrm>
                <a:prstGeom prst="rect">
                  <a:avLst/>
                </a:prstGeom>
                <a:noFill/>
                <a:ln w="9525" cap="rnd">
                  <a:noFill/>
                  <a:prstDash val="solid"/>
                  <a:rou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29BA74"/>
                      </a:solidFill>
                    </a14:hiddenFill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1" vertOverflow="overflow" horzOverflow="overflow" vert="horz" wrap="none" lIns="0" tIns="0" rIns="0" bIns="0" numCol="1" spcCol="0" rtlCol="0" fromWordArt="0" anchor="ctr" anchorCtr="0" forceAA="0" compatLnSpc="1">
                  <a:prstTxWarp prst="textArchDown">
                    <a:avLst/>
                  </a:prstTxWarp>
                  <a:noAutofit/>
                </a:bodyPr>
                <a:lstStyle/>
                <a:p>
                  <a:pPr algn="ctr" defTabSz="582920">
                    <a:defRPr/>
                  </a:pPr>
                  <a:r>
                    <a:rPr lang="en-US" sz="1100" dirty="0">
                      <a:solidFill>
                        <a:srgbClr val="002060"/>
                      </a:solidFill>
                      <a:latin typeface="Franklin Gothic Demi" panose="020B0703020102020204" pitchFamily="34" charset="0"/>
                      <a:cs typeface="Arial" panose="020B0604020202020204" pitchFamily="34" charset="0"/>
                    </a:rPr>
                    <a:t>NA</a:t>
                  </a:r>
                  <a:r>
                    <a:rPr lang="en-US" sz="1100" kern="0" spc="32" dirty="0">
                      <a:solidFill>
                        <a:srgbClr val="002060"/>
                      </a:solidFill>
                      <a:latin typeface="Franklin Gothic Demi" panose="020B0703020102020204" pitchFamily="34" charset="0"/>
                      <a:cs typeface="Arial" panose="020B0604020202020204" pitchFamily="34" charset="0"/>
                    </a:rPr>
                    <a:t>VW</a:t>
                  </a:r>
                  <a:r>
                    <a:rPr lang="en-US" sz="1100" dirty="0">
                      <a:solidFill>
                        <a:srgbClr val="002060"/>
                      </a:solidFill>
                      <a:latin typeface="Franklin Gothic Demi" panose="020B0703020102020204" pitchFamily="34" charset="0"/>
                      <a:cs typeface="Arial" panose="020B0604020202020204" pitchFamily="34" charset="0"/>
                    </a:rPr>
                    <a:t>AR</a:t>
                  </a:r>
                </a:p>
              </p:txBody>
            </p:sp>
            <p:sp>
              <p:nvSpPr>
                <p:cNvPr id="36" name="TextBox 35">
                  <a:extLst>
                    <a:ext uri="{FF2B5EF4-FFF2-40B4-BE49-F238E27FC236}">
                      <a16:creationId xmlns:a16="http://schemas.microsoft.com/office/drawing/2014/main" id="{D7DAB780-4824-6873-D26E-43B279E9D59D}"/>
                    </a:ext>
                  </a:extLst>
                </p:cNvPr>
                <p:cNvSpPr txBox="1"/>
                <p:nvPr/>
              </p:nvSpPr>
              <p:spPr>
                <a:xfrm>
                  <a:off x="1588331" y="2592046"/>
                  <a:ext cx="554241" cy="170870"/>
                </a:xfrm>
                <a:prstGeom prst="rect">
                  <a:avLst/>
                </a:prstGeom>
                <a:noFill/>
                <a:ln w="9525" cap="rnd">
                  <a:noFill/>
                  <a:prstDash val="solid"/>
                  <a:rou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29BA74"/>
                      </a:solidFill>
                    </a14:hiddenFill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582920">
                    <a:defRPr/>
                  </a:pPr>
                  <a:r>
                    <a:rPr lang="en-US" sz="900" dirty="0">
                      <a:solidFill>
                        <a:prstClr val="white">
                          <a:lumMod val="85000"/>
                        </a:prstClr>
                      </a:solidFill>
                      <a:latin typeface="Franklin Gothic Demi" panose="020B0703020102020204" pitchFamily="34" charset="0"/>
                      <a:cs typeface="Arial" panose="020B0604020202020204" pitchFamily="34" charset="0"/>
                    </a:rPr>
                    <a:t>Fleet</a:t>
                  </a:r>
                </a:p>
              </p:txBody>
            </p:sp>
          </p:grp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5E9C2220-5D4E-73A1-9EE7-FE87A9C2E1FD}"/>
                </a:ext>
              </a:extLst>
            </p:cNvPr>
            <p:cNvGrpSpPr/>
            <p:nvPr/>
          </p:nvGrpSpPr>
          <p:grpSpPr>
            <a:xfrm>
              <a:off x="3861924" y="6427288"/>
              <a:ext cx="192310" cy="2860849"/>
              <a:chOff x="5329021" y="1858970"/>
              <a:chExt cx="306171" cy="4554672"/>
            </a:xfrm>
          </p:grpSpPr>
          <p:cxnSp>
            <p:nvCxnSpPr>
              <p:cNvPr id="13" name="Straight Connector 12">
                <a:extLst>
                  <a:ext uri="{FF2B5EF4-FFF2-40B4-BE49-F238E27FC236}">
                    <a16:creationId xmlns:a16="http://schemas.microsoft.com/office/drawing/2014/main" id="{0A68C18D-0B56-D6B7-CFEC-179C01295F08}"/>
                  </a:ext>
                </a:extLst>
              </p:cNvPr>
              <p:cNvCxnSpPr/>
              <p:nvPr/>
            </p:nvCxnSpPr>
            <p:spPr>
              <a:xfrm>
                <a:off x="5480091" y="1858970"/>
                <a:ext cx="0" cy="4554672"/>
              </a:xfrm>
              <a:prstGeom prst="line">
                <a:avLst/>
              </a:prstGeom>
              <a:ln w="9525" cap="rnd">
                <a:solidFill>
                  <a:schemeClr val="tx1">
                    <a:lumMod val="60000"/>
                    <a:lumOff val="40000"/>
                  </a:schemeClr>
                </a:solidFill>
                <a:prstDash val="dash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C988D9D5-1F9C-AB4F-BD95-C31EF326E9B0}"/>
                  </a:ext>
                </a:extLst>
              </p:cNvPr>
              <p:cNvGrpSpPr/>
              <p:nvPr/>
            </p:nvGrpSpPr>
            <p:grpSpPr>
              <a:xfrm>
                <a:off x="5329021" y="3982851"/>
                <a:ext cx="306171" cy="306910"/>
                <a:chOff x="5329021" y="3982851"/>
                <a:chExt cx="306171" cy="306910"/>
              </a:xfrm>
            </p:grpSpPr>
            <p:sp>
              <p:nvSpPr>
                <p:cNvPr id="15" name="Freeform 94">
                  <a:extLst>
                    <a:ext uri="{FF2B5EF4-FFF2-40B4-BE49-F238E27FC236}">
                      <a16:creationId xmlns:a16="http://schemas.microsoft.com/office/drawing/2014/main" id="{F46C2467-EBFE-420E-1D23-4D33503AD0B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329021" y="3982851"/>
                  <a:ext cx="306171" cy="306910"/>
                </a:xfrm>
                <a:custGeom>
                  <a:avLst/>
                  <a:gdLst>
                    <a:gd name="T0" fmla="*/ 0 w 1052"/>
                    <a:gd name="T1" fmla="*/ 526 h 1052"/>
                    <a:gd name="T2" fmla="*/ 0 w 1052"/>
                    <a:gd name="T3" fmla="*/ 526 h 1052"/>
                    <a:gd name="T4" fmla="*/ 526 w 1052"/>
                    <a:gd name="T5" fmla="*/ 0 h 1052"/>
                    <a:gd name="T6" fmla="*/ 1052 w 1052"/>
                    <a:gd name="T7" fmla="*/ 526 h 1052"/>
                    <a:gd name="T8" fmla="*/ 1052 w 1052"/>
                    <a:gd name="T9" fmla="*/ 526 h 1052"/>
                    <a:gd name="T10" fmla="*/ 526 w 1052"/>
                    <a:gd name="T11" fmla="*/ 1052 h 1052"/>
                    <a:gd name="T12" fmla="*/ 526 w 1052"/>
                    <a:gd name="T13" fmla="*/ 1052 h 1052"/>
                    <a:gd name="T14" fmla="*/ 0 w 1052"/>
                    <a:gd name="T15" fmla="*/ 526 h 10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052" h="1052">
                      <a:moveTo>
                        <a:pt x="0" y="526"/>
                      </a:moveTo>
                      <a:cubicBezTo>
                        <a:pt x="0" y="526"/>
                        <a:pt x="0" y="526"/>
                        <a:pt x="0" y="526"/>
                      </a:cubicBezTo>
                      <a:cubicBezTo>
                        <a:pt x="0" y="236"/>
                        <a:pt x="236" y="0"/>
                        <a:pt x="526" y="0"/>
                      </a:cubicBezTo>
                      <a:cubicBezTo>
                        <a:pt x="817" y="0"/>
                        <a:pt x="1052" y="236"/>
                        <a:pt x="1052" y="526"/>
                      </a:cubicBezTo>
                      <a:cubicBezTo>
                        <a:pt x="1052" y="526"/>
                        <a:pt x="1052" y="526"/>
                        <a:pt x="1052" y="526"/>
                      </a:cubicBezTo>
                      <a:cubicBezTo>
                        <a:pt x="1052" y="817"/>
                        <a:pt x="817" y="1052"/>
                        <a:pt x="526" y="1052"/>
                      </a:cubicBezTo>
                      <a:cubicBezTo>
                        <a:pt x="526" y="1052"/>
                        <a:pt x="526" y="1052"/>
                        <a:pt x="526" y="1052"/>
                      </a:cubicBezTo>
                      <a:cubicBezTo>
                        <a:pt x="236" y="1052"/>
                        <a:pt x="0" y="817"/>
                        <a:pt x="0" y="526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solidFill>
                    <a:schemeClr val="tx2"/>
                  </a:solidFill>
                </a:ln>
              </p:spPr>
              <p:txBody>
                <a:bodyPr vert="horz" wrap="square" lIns="56509" tIns="28255" rIns="56509" bIns="28255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582920">
                    <a:defRPr/>
                  </a:pPr>
                  <a:endParaRPr lang="en-US" sz="1148" dirty="0">
                    <a:solidFill>
                      <a:srgbClr val="6E6F73"/>
                    </a:solidFill>
                    <a:latin typeface="Trebuchet MS"/>
                    <a:cs typeface="Times New Roman" pitchFamily="18" charset="0"/>
                  </a:endParaRPr>
                </a:p>
              </p:txBody>
            </p:sp>
            <p:sp>
              <p:nvSpPr>
                <p:cNvPr id="16" name="Freeform 95">
                  <a:extLst>
                    <a:ext uri="{FF2B5EF4-FFF2-40B4-BE49-F238E27FC236}">
                      <a16:creationId xmlns:a16="http://schemas.microsoft.com/office/drawing/2014/main" id="{B8427D85-C4D2-2C86-5B83-DCE0FDB80CA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445834" y="4031892"/>
                  <a:ext cx="120251" cy="224731"/>
                </a:xfrm>
                <a:custGeom>
                  <a:avLst/>
                  <a:gdLst>
                    <a:gd name="T0" fmla="*/ 66 w 976"/>
                    <a:gd name="T1" fmla="*/ 1824 h 1824"/>
                    <a:gd name="T2" fmla="*/ 0 w 976"/>
                    <a:gd name="T3" fmla="*/ 1758 h 1824"/>
                    <a:gd name="T4" fmla="*/ 843 w 976"/>
                    <a:gd name="T5" fmla="*/ 912 h 1824"/>
                    <a:gd name="T6" fmla="*/ 0 w 976"/>
                    <a:gd name="T7" fmla="*/ 66 h 1824"/>
                    <a:gd name="T8" fmla="*/ 66 w 976"/>
                    <a:gd name="T9" fmla="*/ 0 h 1824"/>
                    <a:gd name="T10" fmla="*/ 976 w 976"/>
                    <a:gd name="T11" fmla="*/ 912 h 1824"/>
                    <a:gd name="T12" fmla="*/ 66 w 976"/>
                    <a:gd name="T13" fmla="*/ 1824 h 18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76" h="1824">
                      <a:moveTo>
                        <a:pt x="66" y="1824"/>
                      </a:moveTo>
                      <a:lnTo>
                        <a:pt x="0" y="1758"/>
                      </a:lnTo>
                      <a:lnTo>
                        <a:pt x="843" y="912"/>
                      </a:lnTo>
                      <a:lnTo>
                        <a:pt x="0" y="66"/>
                      </a:lnTo>
                      <a:lnTo>
                        <a:pt x="66" y="0"/>
                      </a:lnTo>
                      <a:lnTo>
                        <a:pt x="976" y="912"/>
                      </a:lnTo>
                      <a:lnTo>
                        <a:pt x="66" y="182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56509" tIns="28255" rIns="56509" bIns="28255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582920">
                    <a:defRPr/>
                  </a:pPr>
                  <a:endParaRPr lang="en-US" sz="1148" dirty="0">
                    <a:solidFill>
                      <a:srgbClr val="6E6F73"/>
                    </a:solidFill>
                    <a:latin typeface="Trebuchet MS"/>
                    <a:cs typeface="Times New Roman" pitchFamily="18" charset="0"/>
                  </a:endParaRPr>
                </a:p>
              </p:txBody>
            </p:sp>
          </p:grpSp>
        </p:grpSp>
        <p:sp>
          <p:nvSpPr>
            <p:cNvPr id="8" name="Title 1">
              <a:extLst>
                <a:ext uri="{FF2B5EF4-FFF2-40B4-BE49-F238E27FC236}">
                  <a16:creationId xmlns:a16="http://schemas.microsoft.com/office/drawing/2014/main" id="{0EDC9D28-B88E-E43F-DA51-1B3FFB2D8F3F}"/>
                </a:ext>
              </a:extLst>
            </p:cNvPr>
            <p:cNvSpPr txBox="1">
              <a:spLocks/>
            </p:cNvSpPr>
            <p:nvPr/>
          </p:nvSpPr>
          <p:spPr>
            <a:xfrm>
              <a:off x="38861" y="5220829"/>
              <a:ext cx="7646125" cy="856113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kern="1200">
                  <a:solidFill>
                    <a:schemeClr val="tx2"/>
                  </a:solidFill>
                  <a:latin typeface="+mj-lt"/>
                  <a:ea typeface="+mj-ea"/>
                  <a:cs typeface="+mj-cs"/>
                  <a:sym typeface="Trebuchet MS" panose="020B0603020202020204" pitchFamily="34" charset="0"/>
                </a:defRPr>
              </a:lvl1pPr>
            </a:lstStyle>
            <a:p>
              <a:pPr algn="ctr"/>
              <a:r>
                <a:rPr lang="en-US" dirty="0">
                  <a:solidFill>
                    <a:schemeClr val="bg1"/>
                  </a:solidFill>
                </a:rPr>
                <a:t>Naval Sustainment System-Supply orchestrates efforts across Commands to </a:t>
              </a:r>
              <a:r>
                <a:rPr lang="en-US" dirty="0">
                  <a:solidFill>
                    <a:schemeClr val="accent1">
                      <a:lumMod val="25000"/>
                      <a:lumOff val="75000"/>
                    </a:schemeClr>
                  </a:solidFill>
                </a:rPr>
                <a:t>restore </a:t>
              </a:r>
              <a:r>
                <a:rPr lang="en-US" dirty="0" smtClean="0">
                  <a:solidFill>
                    <a:schemeClr val="accent1">
                      <a:lumMod val="25000"/>
                      <a:lumOff val="75000"/>
                    </a:schemeClr>
                  </a:solidFill>
                </a:rPr>
                <a:t>the </a:t>
              </a:r>
              <a:r>
                <a:rPr lang="en-US" dirty="0">
                  <a:solidFill>
                    <a:schemeClr val="accent1">
                      <a:lumMod val="25000"/>
                      <a:lumOff val="75000"/>
                    </a:schemeClr>
                  </a:solidFill>
                </a:rPr>
                <a:t>Navy Supply System</a:t>
              </a:r>
              <a:r>
                <a:rPr lang="en-US" dirty="0">
                  <a:solidFill>
                    <a:schemeClr val="bg1"/>
                  </a:solidFill>
                </a:rPr>
                <a:t> and deliver the </a:t>
              </a:r>
              <a:r>
                <a:rPr lang="en-US" dirty="0">
                  <a:solidFill>
                    <a:schemeClr val="accent1">
                      <a:lumMod val="25000"/>
                      <a:lumOff val="75000"/>
                    </a:schemeClr>
                  </a:solidFill>
                </a:rPr>
                <a:t>outcomes the Fleet requires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FFF74E20-36D1-9E90-1EBB-BDC63B807C29}"/>
                </a:ext>
              </a:extLst>
            </p:cNvPr>
            <p:cNvSpPr txBox="1"/>
            <p:nvPr/>
          </p:nvSpPr>
          <p:spPr>
            <a:xfrm>
              <a:off x="4255927" y="6416015"/>
              <a:ext cx="1797366" cy="220199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r>
                <a:rPr lang="en-US" b="1" kern="0" dirty="0">
                  <a:solidFill>
                    <a:schemeClr val="tx1"/>
                  </a:solidFill>
                  <a:latin typeface="Trebuchet MS"/>
                </a:rPr>
                <a:t>Mission statement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39033BF-AA52-5089-438F-69A304AC4B84}"/>
                </a:ext>
              </a:extLst>
            </p:cNvPr>
            <p:cNvSpPr txBox="1"/>
            <p:nvPr/>
          </p:nvSpPr>
          <p:spPr>
            <a:xfrm>
              <a:off x="4255927" y="6709275"/>
              <a:ext cx="3291778" cy="664598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r>
                <a:rPr lang="en-US" sz="1600" kern="0" dirty="0">
                  <a:solidFill>
                    <a:schemeClr val="tx1"/>
                  </a:solidFill>
                  <a:latin typeface="Trebuchet MS"/>
                </a:rPr>
                <a:t>Naval Sustainment System-Supply (NSS-Supply) </a:t>
              </a:r>
              <a:br>
                <a:rPr lang="en-US" sz="1600" kern="0" dirty="0">
                  <a:solidFill>
                    <a:schemeClr val="tx1"/>
                  </a:solidFill>
                  <a:latin typeface="Trebuchet MS"/>
                </a:rPr>
              </a:br>
              <a:r>
                <a:rPr lang="en-US" sz="1600" kern="0" dirty="0">
                  <a:solidFill>
                    <a:schemeClr val="tx1"/>
                  </a:solidFill>
                  <a:latin typeface="Trebuchet MS"/>
                </a:rPr>
                <a:t>is a multi-year journey to transform the </a:t>
              </a:r>
              <a:br>
                <a:rPr lang="en-US" sz="1600" kern="0" dirty="0">
                  <a:solidFill>
                    <a:schemeClr val="tx1"/>
                  </a:solidFill>
                  <a:latin typeface="Trebuchet MS"/>
                </a:rPr>
              </a:br>
              <a:r>
                <a:rPr lang="en-US" sz="1600" kern="0" dirty="0">
                  <a:solidFill>
                    <a:schemeClr val="tx1"/>
                  </a:solidFill>
                  <a:latin typeface="Trebuchet MS"/>
                </a:rPr>
                <a:t>End-to-End Supply Chain and provide the sustainment outcomes the Fleet needs.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65AC205B-B18C-8D5E-8112-8B88891BD33A}"/>
                </a:ext>
              </a:extLst>
            </p:cNvPr>
            <p:cNvSpPr txBox="1"/>
            <p:nvPr/>
          </p:nvSpPr>
          <p:spPr>
            <a:xfrm>
              <a:off x="4255927" y="7949604"/>
              <a:ext cx="3441065" cy="1413430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765"/>
                </a:spcAft>
              </a:pPr>
              <a:r>
                <a:rPr lang="en-US" sz="1600" kern="0" dirty="0">
                  <a:solidFill>
                    <a:schemeClr val="tx1"/>
                  </a:solidFill>
                  <a:latin typeface="Trebuchet MS"/>
                </a:rPr>
                <a:t>NSS-Supply is structured by initiatives that…</a:t>
              </a:r>
            </a:p>
            <a:p>
              <a:pPr marL="0" lvl="1" indent="-217488">
                <a:spcAft>
                  <a:spcPts val="765"/>
                </a:spcAft>
                <a:buAutoNum type="arabicPeriod"/>
              </a:pPr>
              <a:r>
                <a:rPr lang="en-US" sz="1600" kern="0" dirty="0">
                  <a:solidFill>
                    <a:schemeClr val="tx1"/>
                  </a:solidFill>
                  <a:latin typeface="Trebuchet MS"/>
                </a:rPr>
                <a:t>Drive “Get Real Get Better” analysis</a:t>
              </a:r>
            </a:p>
            <a:p>
              <a:pPr marL="0" lvl="1" indent="-217488">
                <a:spcAft>
                  <a:spcPts val="765"/>
                </a:spcAft>
                <a:buAutoNum type="arabicPeriod"/>
              </a:pPr>
              <a:r>
                <a:rPr lang="en-US" sz="1600" kern="0" dirty="0">
                  <a:solidFill>
                    <a:schemeClr val="tx1"/>
                  </a:solidFill>
                  <a:latin typeface="Trebuchet MS"/>
                </a:rPr>
                <a:t>Elevate issues to senior leadership</a:t>
              </a:r>
            </a:p>
            <a:p>
              <a:pPr marL="0" lvl="1" indent="-217488">
                <a:spcAft>
                  <a:spcPts val="765"/>
                </a:spcAft>
                <a:buAutoNum type="arabicPeriod"/>
              </a:pPr>
              <a:r>
                <a:rPr lang="en-US" sz="1600" kern="0" dirty="0">
                  <a:solidFill>
                    <a:schemeClr val="tx1"/>
                  </a:solidFill>
                  <a:latin typeface="Trebuchet MS"/>
                </a:rPr>
                <a:t>Secure resources for a path to “Get Better” 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130D426-40B2-8712-764C-2DA7BAA62098}"/>
                </a:ext>
              </a:extLst>
            </p:cNvPr>
            <p:cNvSpPr txBox="1"/>
            <p:nvPr/>
          </p:nvSpPr>
          <p:spPr>
            <a:xfrm>
              <a:off x="4255927" y="7670692"/>
              <a:ext cx="1797366" cy="220199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r>
                <a:rPr lang="en-US" b="1" kern="0" dirty="0">
                  <a:solidFill>
                    <a:schemeClr val="tx1"/>
                  </a:solidFill>
                  <a:latin typeface="Trebuchet MS"/>
                </a:rPr>
                <a:t>How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23977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/>
        </p:nvGrpSpPr>
        <p:grpSpPr>
          <a:xfrm>
            <a:off x="410584" y="171524"/>
            <a:ext cx="10643496" cy="6472518"/>
            <a:chOff x="1388156" y="1026459"/>
            <a:chExt cx="7416945" cy="4572000"/>
          </a:xfrm>
        </p:grpSpPr>
        <p:grpSp>
          <p:nvGrpSpPr>
            <p:cNvPr id="2" name="Group 1"/>
            <p:cNvGrpSpPr/>
            <p:nvPr/>
          </p:nvGrpSpPr>
          <p:grpSpPr>
            <a:xfrm>
              <a:off x="4173631" y="1450741"/>
              <a:ext cx="4631470" cy="3645794"/>
              <a:chOff x="3109285" y="756120"/>
              <a:chExt cx="4631470" cy="3645794"/>
            </a:xfrm>
          </p:grpSpPr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3DF9226C-2319-42EB-2E7F-095EC66A24B1}"/>
                  </a:ext>
                </a:extLst>
              </p:cNvPr>
              <p:cNvSpPr txBox="1"/>
              <p:nvPr/>
            </p:nvSpPr>
            <p:spPr>
              <a:xfrm>
                <a:off x="4562947" y="1550265"/>
                <a:ext cx="1439118" cy="715889"/>
              </a:xfrm>
              <a:prstGeom prst="rect">
                <a:avLst/>
              </a:prstGeom>
              <a:noFill/>
              <a:ln w="9525" cap="rnd">
                <a:noFill/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600" kern="0" dirty="0">
                    <a:solidFill>
                      <a:schemeClr val="tx1"/>
                    </a:solidFill>
                    <a:latin typeface="Trebuchet MS"/>
                  </a:rPr>
                  <a:t>100% of platforms at Fully Mission Capable- Aircraft Required (FMCAR) goals</a:t>
                </a:r>
              </a:p>
            </p:txBody>
          </p:sp>
          <p:pic>
            <p:nvPicPr>
              <p:cNvPr id="4" name="0B5B3426-6EDB-437F-87FC-749CB97B72D9">
                <a:extLst>
                  <a:ext uri="{FF2B5EF4-FFF2-40B4-BE49-F238E27FC236}">
                    <a16:creationId xmlns:a16="http://schemas.microsoft.com/office/drawing/2014/main" id="{AFD0E779-5A3E-E4D6-63D6-3EFF63BB384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3220392" y="3937158"/>
                <a:ext cx="1262189" cy="233819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</p:spPr>
          </p:pic>
          <p:pic>
            <p:nvPicPr>
              <p:cNvPr id="5" name="E086B2BD-D3A2-4593-B1EE-39E7C5C7C72E">
                <a:extLst>
                  <a:ext uri="{FF2B5EF4-FFF2-40B4-BE49-F238E27FC236}">
                    <a16:creationId xmlns:a16="http://schemas.microsoft.com/office/drawing/2014/main" id="{B4505201-E3AD-D591-1B2B-37A719B2820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3159748" y="2757630"/>
                <a:ext cx="1276020" cy="431917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</p:spPr>
          </p:pic>
          <p:pic>
            <p:nvPicPr>
              <p:cNvPr id="6" name="Picture 5">
                <a:extLst>
                  <a:ext uri="{FF2B5EF4-FFF2-40B4-BE49-F238E27FC236}">
                    <a16:creationId xmlns:a16="http://schemas.microsoft.com/office/drawing/2014/main" id="{D00E0321-301F-9718-3340-0684F68BCAF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299587" y="1751385"/>
                <a:ext cx="1074854" cy="339526"/>
              </a:xfrm>
              <a:prstGeom prst="rect">
                <a:avLst/>
              </a:prstGeom>
              <a:solidFill>
                <a:schemeClr val="bg1"/>
              </a:solidFill>
            </p:spPr>
          </p:pic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C7843902-E49D-3A1C-7EAE-F4512F8DFD52}"/>
                  </a:ext>
                </a:extLst>
              </p:cNvPr>
              <p:cNvSpPr txBox="1"/>
              <p:nvPr/>
            </p:nvSpPr>
            <p:spPr>
              <a:xfrm>
                <a:off x="4724551" y="756120"/>
                <a:ext cx="1176864" cy="240952"/>
              </a:xfrm>
              <a:prstGeom prst="rect">
                <a:avLst/>
              </a:prstGeom>
              <a:noFill/>
              <a:ln w="9525" cap="rnd">
                <a:noFill/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b="1" kern="0" dirty="0">
                    <a:solidFill>
                      <a:schemeClr val="tx1"/>
                    </a:solidFill>
                    <a:latin typeface="Trebuchet MS"/>
                  </a:rPr>
                  <a:t>Fleet </a:t>
                </a:r>
              </a:p>
              <a:p>
                <a:pPr algn="ctr"/>
                <a:r>
                  <a:rPr lang="en-US" b="1" kern="0" dirty="0">
                    <a:solidFill>
                      <a:schemeClr val="tx1"/>
                    </a:solidFill>
                    <a:latin typeface="Trebuchet MS"/>
                  </a:rPr>
                  <a:t>Goal</a:t>
                </a:r>
              </a:p>
            </p:txBody>
          </p:sp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194BC70A-84EA-0E70-D425-103F7BD1C60D}"/>
                  </a:ext>
                </a:extLst>
              </p:cNvPr>
              <p:cNvSpPr txBox="1"/>
              <p:nvPr/>
            </p:nvSpPr>
            <p:spPr>
              <a:xfrm>
                <a:off x="6332142" y="756120"/>
                <a:ext cx="1176864" cy="240952"/>
              </a:xfrm>
              <a:prstGeom prst="rect">
                <a:avLst/>
              </a:prstGeom>
              <a:noFill/>
              <a:ln w="9525" cap="rnd">
                <a:noFill/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b="1" kern="0" dirty="0">
                    <a:solidFill>
                      <a:schemeClr val="tx1"/>
                    </a:solidFill>
                    <a:latin typeface="Trebuchet MS"/>
                  </a:rPr>
                  <a:t>Supply Contribution</a:t>
                </a:r>
              </a:p>
            </p:txBody>
          </p: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70ECC664-ED81-0F6B-3901-5B5171179375}"/>
                  </a:ext>
                </a:extLst>
              </p:cNvPr>
              <p:cNvSpPr txBox="1"/>
              <p:nvPr/>
            </p:nvSpPr>
            <p:spPr>
              <a:xfrm>
                <a:off x="6167994" y="1471332"/>
                <a:ext cx="1572761" cy="742299"/>
              </a:xfrm>
              <a:prstGeom prst="rect">
                <a:avLst/>
              </a:prstGeom>
              <a:noFill/>
              <a:ln w="9525" cap="rnd">
                <a:noFill/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600" kern="0" dirty="0">
                    <a:solidFill>
                      <a:schemeClr val="tx1"/>
                    </a:solidFill>
                    <a:latin typeface="Trebuchet MS"/>
                  </a:rPr>
                  <a:t>100% of platforms at Not Mission Capable due to Supply (NMCS) goal </a:t>
                </a: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E1EAB644-F1AA-EFA0-2C47-EB2BBE05CE5A}"/>
                  </a:ext>
                </a:extLst>
              </p:cNvPr>
              <p:cNvSpPr txBox="1"/>
              <p:nvPr/>
            </p:nvSpPr>
            <p:spPr>
              <a:xfrm>
                <a:off x="4623903" y="2696047"/>
                <a:ext cx="1378161" cy="315971"/>
              </a:xfrm>
              <a:prstGeom prst="rect">
                <a:avLst/>
              </a:prstGeom>
              <a:noFill/>
              <a:ln w="9525" cap="rnd">
                <a:noFill/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600" kern="0" dirty="0">
                    <a:solidFill>
                      <a:schemeClr val="tx1"/>
                    </a:solidFill>
                    <a:latin typeface="Trebuchet MS"/>
                  </a:rPr>
                  <a:t>75 Mission Capable (MC) ships</a:t>
                </a: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EA4D8C60-3E13-F35B-06A4-FC8C9C4CB3D7}"/>
                  </a:ext>
                </a:extLst>
              </p:cNvPr>
              <p:cNvSpPr txBox="1"/>
              <p:nvPr/>
            </p:nvSpPr>
            <p:spPr>
              <a:xfrm>
                <a:off x="6142594" y="2644793"/>
                <a:ext cx="1598161" cy="559221"/>
              </a:xfrm>
              <a:prstGeom prst="rect">
                <a:avLst/>
              </a:prstGeom>
              <a:noFill/>
              <a:ln w="9525" cap="rnd">
                <a:noFill/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600" kern="0" dirty="0">
                    <a:solidFill>
                      <a:schemeClr val="tx1"/>
                    </a:solidFill>
                    <a:latin typeface="Trebuchet MS"/>
                  </a:rPr>
                  <a:t>75 Fully Mission Capable ships due to Maritime Supply (FMC-MS)</a:t>
                </a: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B01341E6-ED2A-2650-5972-16C37A8F9100}"/>
                  </a:ext>
                </a:extLst>
              </p:cNvPr>
              <p:cNvSpPr txBox="1"/>
              <p:nvPr/>
            </p:nvSpPr>
            <p:spPr>
              <a:xfrm>
                <a:off x="4623903" y="3706220"/>
                <a:ext cx="1517934" cy="695694"/>
              </a:xfrm>
              <a:prstGeom prst="rect">
                <a:avLst/>
              </a:prstGeom>
              <a:noFill/>
              <a:ln w="9525" cap="rnd">
                <a:noFill/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1600" kern="0" dirty="0">
                    <a:solidFill>
                      <a:schemeClr val="tx1"/>
                    </a:solidFill>
                    <a:latin typeface="Trebuchet MS"/>
                  </a:rPr>
                  <a:t>80% of nuclear-powered attack submarines (SSNs) operationally available</a:t>
                </a: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CCE76C20-F4AA-5ED2-0403-1281D12F6D98}"/>
                  </a:ext>
                </a:extLst>
              </p:cNvPr>
              <p:cNvSpPr txBox="1"/>
              <p:nvPr/>
            </p:nvSpPr>
            <p:spPr>
              <a:xfrm>
                <a:off x="6231493" y="3706219"/>
                <a:ext cx="1509262" cy="695694"/>
              </a:xfrm>
              <a:prstGeom prst="rect">
                <a:avLst/>
              </a:prstGeom>
              <a:noFill/>
              <a:ln w="9525" cap="rnd">
                <a:noFill/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1600" kern="0" dirty="0">
                    <a:solidFill>
                      <a:schemeClr val="tx1"/>
                    </a:solidFill>
                    <a:latin typeface="Trebuchet MS"/>
                  </a:rPr>
                  <a:t>100% material Ready For Issue (RFI) at the start of maintenance availability</a:t>
                </a:r>
              </a:p>
            </p:txBody>
          </p:sp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57DBEA84-F3C5-C42C-63F6-BC25247534C5}"/>
                  </a:ext>
                </a:extLst>
              </p:cNvPr>
              <p:cNvCxnSpPr/>
              <p:nvPr/>
            </p:nvCxnSpPr>
            <p:spPr>
              <a:xfrm>
                <a:off x="4778208" y="1164677"/>
                <a:ext cx="1069550" cy="0"/>
              </a:xfrm>
              <a:prstGeom prst="line">
                <a:avLst/>
              </a:prstGeom>
              <a:ln w="19050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AF012DB0-0C77-C61C-7865-6D6D0DE5891D}"/>
                  </a:ext>
                </a:extLst>
              </p:cNvPr>
              <p:cNvCxnSpPr/>
              <p:nvPr/>
            </p:nvCxnSpPr>
            <p:spPr>
              <a:xfrm>
                <a:off x="6385799" y="1174302"/>
                <a:ext cx="1069550" cy="0"/>
              </a:xfrm>
              <a:prstGeom prst="line">
                <a:avLst/>
              </a:prstGeom>
              <a:ln w="19050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6" name="Group 15"/>
              <p:cNvGrpSpPr/>
              <p:nvPr/>
            </p:nvGrpSpPr>
            <p:grpSpPr>
              <a:xfrm>
                <a:off x="3109285" y="2472471"/>
                <a:ext cx="4541933" cy="1022553"/>
                <a:chOff x="3191639" y="2233711"/>
                <a:chExt cx="4307179" cy="1022553"/>
              </a:xfrm>
            </p:grpSpPr>
            <p:cxnSp>
              <p:nvCxnSpPr>
                <p:cNvPr id="17" name="Straight Connector 16">
                  <a:extLst>
                    <a:ext uri="{FF2B5EF4-FFF2-40B4-BE49-F238E27FC236}">
                      <a16:creationId xmlns:a16="http://schemas.microsoft.com/office/drawing/2014/main" id="{B163ABF8-5903-ED37-7B78-B72EFD2BAF8A}"/>
                    </a:ext>
                  </a:extLst>
                </p:cNvPr>
                <p:cNvCxnSpPr/>
                <p:nvPr/>
              </p:nvCxnSpPr>
              <p:spPr>
                <a:xfrm>
                  <a:off x="3191639" y="2233711"/>
                  <a:ext cx="4307179" cy="0"/>
                </a:xfrm>
                <a:prstGeom prst="line">
                  <a:avLst/>
                </a:prstGeom>
                <a:ln w="19050" cap="rnd" cmpd="sng" algn="ctr">
                  <a:solidFill>
                    <a:schemeClr val="bg1">
                      <a:lumMod val="85000"/>
                    </a:schemeClr>
                  </a:solidFill>
                  <a:prstDash val="sysDot"/>
                  <a:round/>
                  <a:headEnd type="none" w="med" len="med"/>
                  <a:tailEnd type="non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Straight Connector 17">
                  <a:extLst>
                    <a:ext uri="{FF2B5EF4-FFF2-40B4-BE49-F238E27FC236}">
                      <a16:creationId xmlns:a16="http://schemas.microsoft.com/office/drawing/2014/main" id="{23F8D4E3-28E5-1F53-4C2D-48E1A31A0BDA}"/>
                    </a:ext>
                  </a:extLst>
                </p:cNvPr>
                <p:cNvCxnSpPr/>
                <p:nvPr/>
              </p:nvCxnSpPr>
              <p:spPr>
                <a:xfrm>
                  <a:off x="3191639" y="3256264"/>
                  <a:ext cx="4307179" cy="0"/>
                </a:xfrm>
                <a:prstGeom prst="line">
                  <a:avLst/>
                </a:prstGeom>
                <a:ln w="19050" cap="rnd" cmpd="sng" algn="ctr">
                  <a:solidFill>
                    <a:schemeClr val="bg1">
                      <a:lumMod val="85000"/>
                    </a:schemeClr>
                  </a:solidFill>
                  <a:prstDash val="sysDot"/>
                  <a:round/>
                  <a:headEnd type="none" w="med" len="med"/>
                  <a:tailEnd type="non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CBE7469-EEDF-422B-9FDD-2F464EB37675}"/>
                </a:ext>
              </a:extLst>
            </p:cNvPr>
            <p:cNvSpPr/>
            <p:nvPr/>
          </p:nvSpPr>
          <p:spPr>
            <a:xfrm>
              <a:off x="3989644" y="1026459"/>
              <a:ext cx="91389" cy="4572000"/>
            </a:xfrm>
            <a:prstGeom prst="rect">
              <a:avLst/>
            </a:prstGeom>
            <a:solidFill>
              <a:schemeClr val="accent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8293" tIns="29146" rIns="58293" bIns="2914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765" dirty="0">
                <a:solidFill>
                  <a:srgbClr val="FFFFFF"/>
                </a:solidFill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388156" y="1026459"/>
              <a:ext cx="2601488" cy="4572000"/>
            </a:xfrm>
            <a:prstGeom prst="rect">
              <a:avLst/>
            </a:prstGeom>
            <a:solidFill>
              <a:schemeClr val="tx2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8293" tIns="29146" rIns="58293" bIns="2914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765" dirty="0">
                <a:solidFill>
                  <a:srgbClr val="FFFFFF"/>
                </a:solidFill>
              </a:endParaRPr>
            </a:p>
          </p:txBody>
        </p:sp>
        <p:sp>
          <p:nvSpPr>
            <p:cNvPr id="21" name="Title 1">
              <a:extLst>
                <a:ext uri="{FF2B5EF4-FFF2-40B4-BE49-F238E27FC236}">
                  <a16:creationId xmlns:a16="http://schemas.microsoft.com/office/drawing/2014/main" id="{741ECBE7-B5C0-9295-5E49-332664D3C059}"/>
                </a:ext>
              </a:extLst>
            </p:cNvPr>
            <p:cNvSpPr txBox="1">
              <a:spLocks/>
            </p:cNvSpPr>
            <p:nvPr/>
          </p:nvSpPr>
          <p:spPr>
            <a:xfrm>
              <a:off x="1583993" y="2495700"/>
              <a:ext cx="2249746" cy="1306768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algn="l" defTabSz="58292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1785" kern="1200">
                  <a:solidFill>
                    <a:schemeClr val="tx2"/>
                  </a:solidFill>
                  <a:latin typeface="+mj-lt"/>
                  <a:ea typeface="+mj-ea"/>
                  <a:cs typeface="+mj-cs"/>
                  <a:sym typeface="Trebuchet MS" panose="020B0603020202020204" pitchFamily="34" charset="0"/>
                </a:defRPr>
              </a:lvl1pPr>
            </a:lstStyle>
            <a:p>
              <a:pPr algn="r"/>
              <a:r>
                <a:rPr lang="en-US" sz="2040" dirty="0" smtClean="0">
                  <a:solidFill>
                    <a:schemeClr val="accent3"/>
                  </a:solidFill>
                  <a:latin typeface="Franklin Gothic Demi" panose="020B0703020102020204" pitchFamily="34" charset="0"/>
                </a:rPr>
                <a:t>Naval Sustainment System-Supply</a:t>
              </a:r>
              <a:br>
                <a:rPr lang="en-US" sz="2040" dirty="0" smtClean="0">
                  <a:solidFill>
                    <a:schemeClr val="accent3"/>
                  </a:solidFill>
                  <a:latin typeface="Franklin Gothic Demi" panose="020B0703020102020204" pitchFamily="34" charset="0"/>
                </a:rPr>
              </a:br>
              <a:r>
                <a:rPr lang="en-US" dirty="0" smtClean="0">
                  <a:solidFill>
                    <a:schemeClr val="bg1"/>
                  </a:solidFill>
                  <a:latin typeface="Franklin Gothic Demi" panose="020B0703020102020204" pitchFamily="34" charset="0"/>
                </a:rPr>
                <a:t>is focused on delivering Fleet outcomes</a:t>
              </a:r>
              <a:endParaRPr lang="en-US" sz="2040" dirty="0">
                <a:latin typeface="Franklin Gothic Demi" panose="020B0703020102020204" pitchFamily="34" charset="0"/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73618" y="4373400"/>
              <a:ext cx="960121" cy="960121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2B04D9F2-D36E-4C1F-B9F3-1F1A5D393EB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55585" y="1278141"/>
              <a:ext cx="2285880" cy="953274"/>
            </a:xfrm>
            <a:custGeom>
              <a:avLst/>
              <a:gdLst>
                <a:gd name="connsiteX0" fmla="*/ 0 w 3649041"/>
                <a:gd name="connsiteY0" fmla="*/ 0 h 2098956"/>
                <a:gd name="connsiteX1" fmla="*/ 3649041 w 3649041"/>
                <a:gd name="connsiteY1" fmla="*/ 0 h 2098956"/>
                <a:gd name="connsiteX2" fmla="*/ 3649041 w 3649041"/>
                <a:gd name="connsiteY2" fmla="*/ 2098956 h 2098956"/>
                <a:gd name="connsiteX3" fmla="*/ 0 w 3649041"/>
                <a:gd name="connsiteY3" fmla="*/ 2098956 h 2098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49041" h="2098956">
                  <a:moveTo>
                    <a:pt x="0" y="0"/>
                  </a:moveTo>
                  <a:lnTo>
                    <a:pt x="3649041" y="0"/>
                  </a:lnTo>
                  <a:lnTo>
                    <a:pt x="3649041" y="2098956"/>
                  </a:lnTo>
                  <a:lnTo>
                    <a:pt x="0" y="2098956"/>
                  </a:lnTo>
                  <a:close/>
                </a:path>
              </a:pathLst>
            </a:custGeom>
          </p:spPr>
        </p:pic>
      </p:grpSp>
    </p:spTree>
    <p:extLst>
      <p:ext uri="{BB962C8B-B14F-4D97-AF65-F5344CB8AC3E}">
        <p14:creationId xmlns:p14="http://schemas.microsoft.com/office/powerpoint/2010/main" val="3253864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1A498C7-3EF9-3255-72D0-1A65CB0F4F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1" name="think-cell Slide" r:id="rId4" imgW="354" imgH="355" progId="TCLayout.ActiveDocument.1">
                  <p:embed/>
                </p:oleObj>
              </mc:Choice>
              <mc:Fallback>
                <p:oleObj name="think-cell Slide" r:id="rId4" imgW="354" imgH="35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A498C7-3EF9-3255-72D0-1A65CB0F4F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5BFCBEAE-E16D-752D-7DA5-4A914C78F998}"/>
              </a:ext>
            </a:extLst>
          </p:cNvPr>
          <p:cNvSpPr/>
          <p:nvPr/>
        </p:nvSpPr>
        <p:spPr>
          <a:xfrm>
            <a:off x="0" y="1411771"/>
            <a:ext cx="6102625" cy="5446229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^</a:t>
            </a:r>
          </a:p>
        </p:txBody>
      </p:sp>
      <p:sp>
        <p:nvSpPr>
          <p:cNvPr id="8" name="ee4pHeader2">
            <a:extLst>
              <a:ext uri="{FF2B5EF4-FFF2-40B4-BE49-F238E27FC236}">
                <a16:creationId xmlns:a16="http://schemas.microsoft.com/office/drawing/2014/main" id="{13FDC653-6FD2-EFDD-389C-9FCDFE068EDC}"/>
              </a:ext>
            </a:extLst>
          </p:cNvPr>
          <p:cNvSpPr txBox="1"/>
          <p:nvPr/>
        </p:nvSpPr>
        <p:spPr>
          <a:xfrm>
            <a:off x="6340481" y="2034348"/>
            <a:ext cx="5376973" cy="369332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Way Forward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20" name="ee4pHeader2">
            <a:extLst>
              <a:ext uri="{FF2B5EF4-FFF2-40B4-BE49-F238E27FC236}">
                <a16:creationId xmlns:a16="http://schemas.microsoft.com/office/drawing/2014/main" id="{74876A2C-DCEE-FDEC-B0CE-FA0A01D2C6C7}"/>
              </a:ext>
            </a:extLst>
          </p:cNvPr>
          <p:cNvSpPr txBox="1"/>
          <p:nvPr/>
        </p:nvSpPr>
        <p:spPr>
          <a:xfrm>
            <a:off x="424945" y="2034348"/>
            <a:ext cx="5066479" cy="369332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Current challenges </a:t>
            </a:r>
          </a:p>
        </p:txBody>
      </p:sp>
      <p:sp>
        <p:nvSpPr>
          <p:cNvPr id="32" name="Oval 20">
            <a:extLst>
              <a:ext uri="{FF2B5EF4-FFF2-40B4-BE49-F238E27FC236}">
                <a16:creationId xmlns:a16="http://schemas.microsoft.com/office/drawing/2014/main" id="{1708E11B-A495-32B6-B317-75D12E03665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0943" y="5863990"/>
            <a:ext cx="306911" cy="30691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4</a:t>
            </a:r>
          </a:p>
        </p:txBody>
      </p:sp>
      <p:sp>
        <p:nvSpPr>
          <p:cNvPr id="33" name="Oval 20">
            <a:extLst>
              <a:ext uri="{FF2B5EF4-FFF2-40B4-BE49-F238E27FC236}">
                <a16:creationId xmlns:a16="http://schemas.microsoft.com/office/drawing/2014/main" id="{462B2039-EDE7-CD6B-0ED9-08BDE0D469E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0943" y="4926918"/>
            <a:ext cx="306911" cy="306911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3</a:t>
            </a:r>
          </a:p>
        </p:txBody>
      </p:sp>
      <p:sp>
        <p:nvSpPr>
          <p:cNvPr id="34" name="Oval 20">
            <a:extLst>
              <a:ext uri="{FF2B5EF4-FFF2-40B4-BE49-F238E27FC236}">
                <a16:creationId xmlns:a16="http://schemas.microsoft.com/office/drawing/2014/main" id="{0EF19185-9DEB-466E-4913-D8776B40540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0943" y="3973924"/>
            <a:ext cx="306911" cy="306911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C3CF1E09-8FAE-DF8B-3976-9760701B00F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0943" y="2930553"/>
            <a:ext cx="306911" cy="306911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0"/>
                  </a:srgb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19B9A68-25A7-3A49-ED3A-1714C545F182}"/>
              </a:ext>
            </a:extLst>
          </p:cNvPr>
          <p:cNvSpPr txBox="1"/>
          <p:nvPr/>
        </p:nvSpPr>
        <p:spPr>
          <a:xfrm>
            <a:off x="10453041" y="5322053"/>
            <a:ext cx="1401262" cy="123334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ymptoms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2D41B43-0D87-AB4B-0788-FD15E710A150}"/>
              </a:ext>
            </a:extLst>
          </p:cNvPr>
          <p:cNvCxnSpPr>
            <a:cxnSpLocks/>
          </p:cNvCxnSpPr>
          <p:nvPr/>
        </p:nvCxnSpPr>
        <p:spPr>
          <a:xfrm>
            <a:off x="708509" y="3609823"/>
            <a:ext cx="9542157" cy="0"/>
          </a:xfrm>
          <a:prstGeom prst="line">
            <a:avLst/>
          </a:prstGeom>
          <a:ln w="9525" cap="rnd">
            <a:solidFill>
              <a:schemeClr val="bg1">
                <a:lumMod val="5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3E83581-1296-7B6C-DF49-F51C27F49800}"/>
              </a:ext>
            </a:extLst>
          </p:cNvPr>
          <p:cNvCxnSpPr>
            <a:cxnSpLocks/>
          </p:cNvCxnSpPr>
          <p:nvPr/>
        </p:nvCxnSpPr>
        <p:spPr>
          <a:xfrm>
            <a:off x="708509" y="4561441"/>
            <a:ext cx="9542157" cy="0"/>
          </a:xfrm>
          <a:prstGeom prst="line">
            <a:avLst/>
          </a:prstGeom>
          <a:ln w="9525" cap="rnd">
            <a:solidFill>
              <a:schemeClr val="bg1">
                <a:lumMod val="5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78580A73-3728-D6D9-8B11-90C818216EC4}"/>
              </a:ext>
            </a:extLst>
          </p:cNvPr>
          <p:cNvCxnSpPr>
            <a:cxnSpLocks/>
          </p:cNvCxnSpPr>
          <p:nvPr/>
        </p:nvCxnSpPr>
        <p:spPr>
          <a:xfrm>
            <a:off x="708509" y="5513059"/>
            <a:ext cx="9542157" cy="0"/>
          </a:xfrm>
          <a:prstGeom prst="line">
            <a:avLst/>
          </a:prstGeom>
          <a:ln w="9525" cap="rnd">
            <a:solidFill>
              <a:schemeClr val="bg1">
                <a:lumMod val="5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ee4pContent2">
            <a:extLst>
              <a:ext uri="{FF2B5EF4-FFF2-40B4-BE49-F238E27FC236}">
                <a16:creationId xmlns:a16="http://schemas.microsoft.com/office/drawing/2014/main" id="{09C34531-320D-00DE-3821-7CA7DAF13C3A}"/>
              </a:ext>
            </a:extLst>
          </p:cNvPr>
          <p:cNvSpPr txBox="1"/>
          <p:nvPr/>
        </p:nvSpPr>
        <p:spPr>
          <a:xfrm>
            <a:off x="6469905" y="5557206"/>
            <a:ext cx="3793028" cy="58953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002060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000000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002060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000000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002060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000000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002060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000000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000000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002060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002060"/>
                </a:solidFill>
                <a:latin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Targeted reduction of high priority UCOs, including 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Jeopardy Requisition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and CASREPs</a:t>
            </a:r>
          </a:p>
        </p:txBody>
      </p:sp>
      <p:sp>
        <p:nvSpPr>
          <p:cNvPr id="10" name="ee4pContent2">
            <a:extLst>
              <a:ext uri="{FF2B5EF4-FFF2-40B4-BE49-F238E27FC236}">
                <a16:creationId xmlns:a16="http://schemas.microsoft.com/office/drawing/2014/main" id="{E6A138EF-8F76-5231-7817-6797DB595E8D}"/>
              </a:ext>
            </a:extLst>
          </p:cNvPr>
          <p:cNvSpPr txBox="1"/>
          <p:nvPr/>
        </p:nvSpPr>
        <p:spPr>
          <a:xfrm>
            <a:off x="6469905" y="4785605"/>
            <a:ext cx="3793028" cy="58953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002060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000000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002060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000000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002060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000000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002060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000000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000000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002060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002060"/>
                </a:solidFill>
                <a:latin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Manage material risk via standardizing 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processe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5" name="ee4pContent2">
            <a:extLst>
              <a:ext uri="{FF2B5EF4-FFF2-40B4-BE49-F238E27FC236}">
                <a16:creationId xmlns:a16="http://schemas.microsoft.com/office/drawing/2014/main" id="{25A8DC20-71C3-1506-9A0B-5BCEF401A39A}"/>
              </a:ext>
            </a:extLst>
          </p:cNvPr>
          <p:cNvSpPr txBox="1"/>
          <p:nvPr/>
        </p:nvSpPr>
        <p:spPr>
          <a:xfrm>
            <a:off x="6469905" y="3832611"/>
            <a:ext cx="3793028" cy="58953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002060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000000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002060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000000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002060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000000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002060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000000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000000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002060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002060"/>
                </a:solidFill>
                <a:latin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Improve 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onboard sparing and modeling discipline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1" name="ee4pContent2">
            <a:extLst>
              <a:ext uri="{FF2B5EF4-FFF2-40B4-BE49-F238E27FC236}">
                <a16:creationId xmlns:a16="http://schemas.microsoft.com/office/drawing/2014/main" id="{4D4597D5-C8A3-1EBB-F2AD-BCF40F090FE8}"/>
              </a:ext>
            </a:extLst>
          </p:cNvPr>
          <p:cNvSpPr txBox="1"/>
          <p:nvPr/>
        </p:nvSpPr>
        <p:spPr>
          <a:xfrm>
            <a:off x="6469905" y="2789240"/>
            <a:ext cx="3793028" cy="58953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002060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000000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002060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000000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002060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000000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002060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000000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000000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002060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002060"/>
                </a:solidFill>
                <a:latin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Create full visibility and coordinated decision making</a:t>
            </a:r>
          </a:p>
        </p:txBody>
      </p:sp>
      <p:sp>
        <p:nvSpPr>
          <p:cNvPr id="21" name="ee4pContent2">
            <a:extLst>
              <a:ext uri="{FF2B5EF4-FFF2-40B4-BE49-F238E27FC236}">
                <a16:creationId xmlns:a16="http://schemas.microsoft.com/office/drawing/2014/main" id="{05061ACE-1FAA-A3B9-778A-693277255B85}"/>
              </a:ext>
            </a:extLst>
          </p:cNvPr>
          <p:cNvSpPr txBox="1"/>
          <p:nvPr/>
        </p:nvSpPr>
        <p:spPr>
          <a:xfrm>
            <a:off x="1075643" y="5839563"/>
            <a:ext cx="4806564" cy="35576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>
            <a:no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002060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000000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002060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000000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002060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000000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002060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000000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000000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002060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002060"/>
                </a:solidFill>
                <a:latin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Backlog of unfilled customer 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order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2" name="ee4pContent2">
            <a:extLst>
              <a:ext uri="{FF2B5EF4-FFF2-40B4-BE49-F238E27FC236}">
                <a16:creationId xmlns:a16="http://schemas.microsoft.com/office/drawing/2014/main" id="{1FBB3288-5D59-9E3E-941D-C7F16DE7FFE6}"/>
              </a:ext>
            </a:extLst>
          </p:cNvPr>
          <p:cNvSpPr txBox="1"/>
          <p:nvPr/>
        </p:nvSpPr>
        <p:spPr>
          <a:xfrm>
            <a:off x="1075643" y="4785605"/>
            <a:ext cx="4806564" cy="58953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002060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000000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002060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000000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002060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000000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002060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000000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000000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002060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002060"/>
                </a:solidFill>
                <a:latin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Material management processes are ad-ho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driving </a:t>
            </a: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latent demand signals</a:t>
            </a:r>
            <a:r>
              <a:rPr kumimoji="0" lang="en-US" sz="1600" b="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 </a:t>
            </a:r>
            <a:r>
              <a:rPr lang="en-US" sz="1600" dirty="0" smtClean="0"/>
              <a:t>and</a:t>
            </a: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material </a:t>
            </a: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delay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" name="ee4pContent2">
            <a:extLst>
              <a:ext uri="{FF2B5EF4-FFF2-40B4-BE49-F238E27FC236}">
                <a16:creationId xmlns:a16="http://schemas.microsoft.com/office/drawing/2014/main" id="{F8B7D36F-85C6-176E-DDB3-3D8F7D06D8C8}"/>
              </a:ext>
            </a:extLst>
          </p:cNvPr>
          <p:cNvSpPr txBox="1"/>
          <p:nvPr/>
        </p:nvSpPr>
        <p:spPr>
          <a:xfrm>
            <a:off x="1075643" y="2789240"/>
            <a:ext cx="4806564" cy="58953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002060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000000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002060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000000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002060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000000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002060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000000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000000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002060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002060"/>
                </a:solidFill>
                <a:latin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Full</a:t>
            </a:r>
            <a:r>
              <a:rPr kumimoji="0" lang="en-US" sz="1800" b="0" i="0" u="none" strike="noStrike" kern="120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inventory not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visible 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to End</a:t>
            </a:r>
            <a:r>
              <a:rPr lang="en-US" sz="1800" dirty="0" smtClean="0">
                <a:solidFill>
                  <a:srgbClr val="002060"/>
                </a:solidFill>
              </a:rPr>
              <a:t>-to-End supply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lang="en-US" sz="1600" noProof="0" dirty="0" smtClean="0"/>
              <a:t>due to policy, process and accounting alignment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8" name="ee4pContent2">
            <a:extLst>
              <a:ext uri="{FF2B5EF4-FFF2-40B4-BE49-F238E27FC236}">
                <a16:creationId xmlns:a16="http://schemas.microsoft.com/office/drawing/2014/main" id="{B6CA7E5F-F153-12FE-3F84-F3FB187ABAA7}"/>
              </a:ext>
            </a:extLst>
          </p:cNvPr>
          <p:cNvSpPr txBox="1"/>
          <p:nvPr/>
        </p:nvSpPr>
        <p:spPr>
          <a:xfrm>
            <a:off x="1075643" y="3832611"/>
            <a:ext cx="4806564" cy="58953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000000"/>
                </a:solidFill>
                <a:latin typeface="Trebuchet MS" panose="020B0603020202020204" pitchFamily="34" charset="0"/>
                <a:cs typeface="Arial" pitchFamily="34" charset="0"/>
              </a:defRPr>
            </a:lvl1pPr>
            <a:lvl2pPr marL="324000" lvl="1" indent="-216000">
              <a:buClr>
                <a:srgbClr val="002060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000000"/>
                </a:solidFill>
                <a:latin typeface="Trebuchet MS" panose="020B0603020202020204" pitchFamily="34" charset="0"/>
              </a:defRPr>
            </a:lvl2pPr>
            <a:lvl3pPr marL="648000" lvl="2" indent="-216000">
              <a:buClr>
                <a:srgbClr val="002060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000000"/>
                </a:solidFill>
                <a:latin typeface="Trebuchet MS" panose="020B0603020202020204" pitchFamily="34" charset="0"/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002060"/>
                </a:solidFill>
                <a:latin typeface="Trebuchet MS" panose="020B0603020202020204" pitchFamily="34" charset="0"/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000000"/>
                </a:solidFill>
                <a:latin typeface="Trebuchet MS" panose="020B0603020202020204" pitchFamily="34" charset="0"/>
              </a:defRPr>
            </a:lvl5pPr>
            <a:lvl6pPr marL="324000" lvl="5" indent="-216000">
              <a:buClr>
                <a:srgbClr val="002060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000000"/>
                </a:solidFill>
                <a:latin typeface="Trebuchet MS" panose="020B0603020202020204" pitchFamily="34" charset="0"/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000000"/>
                </a:solidFill>
                <a:latin typeface="Trebuchet MS" panose="020B0603020202020204" pitchFamily="34" charset="0"/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002060"/>
                </a:solidFill>
                <a:latin typeface="Trebuchet MS" panose="020B0603020202020204" pitchFamily="34" charset="0"/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002060"/>
                </a:solidFill>
                <a:latin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Siloed forecasting upstrea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between </a:t>
            </a: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Systems</a:t>
            </a:r>
            <a:r>
              <a:rPr kumimoji="0" lang="en-US" sz="1600" b="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 Command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88CE717-4C8C-B878-44D4-AB850B94CAD9}"/>
              </a:ext>
            </a:extLst>
          </p:cNvPr>
          <p:cNvGrpSpPr/>
          <p:nvPr/>
        </p:nvGrpSpPr>
        <p:grpSpPr>
          <a:xfrm>
            <a:off x="10417929" y="2705518"/>
            <a:ext cx="992193" cy="2643230"/>
            <a:chOff x="10417929" y="2816080"/>
            <a:chExt cx="992193" cy="1884604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2264558-06F4-AEF9-CC1B-EFCC568A4A99}"/>
                </a:ext>
              </a:extLst>
            </p:cNvPr>
            <p:cNvSpPr txBox="1"/>
            <p:nvPr/>
          </p:nvSpPr>
          <p:spPr>
            <a:xfrm>
              <a:off x="10453041" y="3265345"/>
              <a:ext cx="957081" cy="986073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Root </a:t>
              </a: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rPr>
                <a:t>Causes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723F84EA-29F1-024E-6E3B-841B5ED66FE2}"/>
                </a:ext>
              </a:extLst>
            </p:cNvPr>
            <p:cNvCxnSpPr>
              <a:cxnSpLocks/>
            </p:cNvCxnSpPr>
            <p:nvPr/>
          </p:nvCxnSpPr>
          <p:spPr>
            <a:xfrm>
              <a:off x="10417929" y="2816080"/>
              <a:ext cx="0" cy="1884604"/>
            </a:xfrm>
            <a:prstGeom prst="line">
              <a:avLst/>
            </a:prstGeom>
            <a:ln w="15875" cap="rnd">
              <a:solidFill>
                <a:schemeClr val="tx2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AC02894E-3E6A-FCA3-A699-3EEE0477F19C}"/>
              </a:ext>
            </a:extLst>
          </p:cNvPr>
          <p:cNvCxnSpPr>
            <a:cxnSpLocks/>
          </p:cNvCxnSpPr>
          <p:nvPr/>
        </p:nvCxnSpPr>
        <p:spPr>
          <a:xfrm>
            <a:off x="10417929" y="5599226"/>
            <a:ext cx="0" cy="678999"/>
          </a:xfrm>
          <a:prstGeom prst="line">
            <a:avLst/>
          </a:prstGeom>
          <a:ln w="1587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80B87654-EA62-57DB-2BB2-0315A4569778}"/>
              </a:ext>
            </a:extLst>
          </p:cNvPr>
          <p:cNvSpPr/>
          <p:nvPr/>
        </p:nvSpPr>
        <p:spPr>
          <a:xfrm>
            <a:off x="0" y="-28575"/>
            <a:ext cx="12192000" cy="1595027"/>
          </a:xfrm>
          <a:prstGeom prst="rect">
            <a:avLst/>
          </a:prstGeom>
          <a:gradFill flip="none" rotWithShape="1">
            <a:gsLst>
              <a:gs pos="0">
                <a:srgbClr val="3599DB"/>
              </a:gs>
              <a:gs pos="100000">
                <a:srgbClr val="0F223D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 typeface="Trebuchet MS" panose="020B0603020202020204" pitchFamily="34" charset="0"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4B98F11-1AA2-E298-3F03-C1AB2A231555}"/>
              </a:ext>
            </a:extLst>
          </p:cNvPr>
          <p:cNvSpPr/>
          <p:nvPr/>
        </p:nvSpPr>
        <p:spPr>
          <a:xfrm>
            <a:off x="0" y="1504185"/>
            <a:ext cx="12192000" cy="90842"/>
          </a:xfrm>
          <a:prstGeom prst="rect">
            <a:avLst/>
          </a:prstGeom>
          <a:solidFill>
            <a:srgbClr val="00206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AB2C7E-E32C-1ABE-8B0D-8194B0B14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229" y="577371"/>
            <a:ext cx="11036790" cy="443198"/>
          </a:xfrm>
        </p:spPr>
        <p:txBody>
          <a:bodyPr vert="horz"/>
          <a:lstStyle/>
          <a:p>
            <a:pPr algn="ctr">
              <a:spcBef>
                <a:spcPts val="0"/>
              </a:spcBef>
            </a:pPr>
            <a:r>
              <a:rPr lang="en-US" sz="3200" dirty="0" smtClean="0">
                <a:solidFill>
                  <a:schemeClr val="bg1"/>
                </a:solidFill>
              </a:rPr>
              <a:t>NSS-Supply lessons learned</a:t>
            </a:r>
            <a:endParaRPr lang="en-US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3789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F407ACC-A4B5-4F03-B4AC-CD669D15F1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131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407ACC-A4B5-4F03-B4AC-CD669D15F1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22AB9E8E-CE31-41A3-9AF2-37095CC518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6050" y="663141"/>
            <a:ext cx="8877300" cy="387798"/>
          </a:xfrm>
        </p:spPr>
        <p:txBody>
          <a:bodyPr vert="horz"/>
          <a:lstStyle/>
          <a:p>
            <a:r>
              <a:rPr lang="en-US" dirty="0"/>
              <a:t>Wave 8 initiatives and Expected Outcomes</a:t>
            </a:r>
          </a:p>
        </p:txBody>
      </p:sp>
      <p:graphicFrame>
        <p:nvGraphicFramePr>
          <p:cNvPr id="8" name="Table 14">
            <a:extLst>
              <a:ext uri="{FF2B5EF4-FFF2-40B4-BE49-F238E27FC236}">
                <a16:creationId xmlns:a16="http://schemas.microsoft.com/office/drawing/2014/main" id="{21A07CB6-C221-F395-83BF-166F7B338C52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31342" y="1939354"/>
          <a:ext cx="10834063" cy="41897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97185">
                  <a:extLst>
                    <a:ext uri="{9D8B030D-6E8A-4147-A177-3AD203B41FA5}">
                      <a16:colId xmlns:a16="http://schemas.microsoft.com/office/drawing/2014/main" val="4203870223"/>
                    </a:ext>
                  </a:extLst>
                </a:gridCol>
                <a:gridCol w="2929359">
                  <a:extLst>
                    <a:ext uri="{9D8B030D-6E8A-4147-A177-3AD203B41FA5}">
                      <a16:colId xmlns:a16="http://schemas.microsoft.com/office/drawing/2014/main" val="1973402945"/>
                    </a:ext>
                  </a:extLst>
                </a:gridCol>
                <a:gridCol w="3707519">
                  <a:extLst>
                    <a:ext uri="{9D8B030D-6E8A-4147-A177-3AD203B41FA5}">
                      <a16:colId xmlns:a16="http://schemas.microsoft.com/office/drawing/2014/main" val="1757969612"/>
                    </a:ext>
                  </a:extLst>
                </a:gridCol>
              </a:tblGrid>
              <a:tr h="416907">
                <a:tc>
                  <a:txBody>
                    <a:bodyPr/>
                    <a:lstStyle/>
                    <a:p>
                      <a:r>
                        <a:rPr lang="en-US" b="0" dirty="0"/>
                        <a:t>Wave 8 Initiative </a:t>
                      </a:r>
                    </a:p>
                  </a:txBody>
                  <a:tcPr anchor="ctr"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mpd="sng">
                      <a:noFill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0" dirty="0"/>
                        <a:t>Vanguard Lead(s)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mpd="sng">
                      <a:noFill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b="0" dirty="0"/>
                        <a:t>Ideal</a:t>
                      </a:r>
                      <a:r>
                        <a:rPr lang="en-US" b="0" baseline="0" dirty="0"/>
                        <a:t> Outcomes</a:t>
                      </a:r>
                      <a:endParaRPr lang="en-US" b="0" dirty="0"/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mpd="sng">
                      <a:noFill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7062317"/>
                  </a:ext>
                </a:extLst>
              </a:tr>
              <a:tr h="897954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800" b="0" i="0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bmarine Wholesale Wholeness </a:t>
                      </a:r>
                      <a:endParaRPr lang="en-US" sz="1800" b="0" i="0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2286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800" dirty="0">
                          <a:solidFill>
                            <a:srgbClr val="5A5A5A"/>
                          </a:solidFill>
                        </a:rPr>
                        <a:t>Tony </a:t>
                      </a:r>
                      <a:r>
                        <a:rPr lang="en-US" sz="1800" dirty="0" err="1">
                          <a:solidFill>
                            <a:srgbClr val="5A5A5A"/>
                          </a:solidFill>
                        </a:rPr>
                        <a:t>Yanero</a:t>
                      </a:r>
                      <a:endParaRPr lang="en-US" sz="1800" dirty="0">
                        <a:solidFill>
                          <a:srgbClr val="5A5A5A"/>
                        </a:solidFill>
                      </a:endParaRPr>
                    </a:p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800" dirty="0" err="1">
                          <a:solidFill>
                            <a:srgbClr val="5A5A5A"/>
                          </a:solidFill>
                        </a:rPr>
                        <a:t>Dyan</a:t>
                      </a:r>
                      <a:r>
                        <a:rPr lang="en-US" sz="1800" dirty="0">
                          <a:solidFill>
                            <a:srgbClr val="5A5A5A"/>
                          </a:solidFill>
                        </a:rPr>
                        <a:t> Hooper</a:t>
                      </a:r>
                    </a:p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800" dirty="0">
                          <a:solidFill>
                            <a:srgbClr val="5A5A5A"/>
                          </a:solidFill>
                        </a:rPr>
                        <a:t>LCDR </a:t>
                      </a:r>
                      <a:r>
                        <a:rPr lang="en-US" sz="1800" dirty="0" smtClean="0">
                          <a:solidFill>
                            <a:srgbClr val="5A5A5A"/>
                          </a:solidFill>
                        </a:rPr>
                        <a:t>Connell (AO)</a:t>
                      </a:r>
                      <a:endParaRPr lang="en-US" sz="1800" dirty="0">
                        <a:solidFill>
                          <a:srgbClr val="5A5A5A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None/>
                      </a:pPr>
                      <a:r>
                        <a:rPr lang="en-US" sz="1800" dirty="0">
                          <a:solidFill>
                            <a:srgbClr val="575757"/>
                          </a:solidFill>
                        </a:rPr>
                        <a:t>Determining</a:t>
                      </a:r>
                      <a:r>
                        <a:rPr lang="en-US" sz="1800" baseline="0" dirty="0">
                          <a:solidFill>
                            <a:srgbClr val="575757"/>
                          </a:solidFill>
                        </a:rPr>
                        <a:t> comprehensive wholesale requirement across all avail types and sub class</a:t>
                      </a:r>
                      <a:endParaRPr lang="en-US" sz="1800" kern="1200" dirty="0">
                        <a:solidFill>
                          <a:srgbClr val="575757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9836930"/>
                  </a:ext>
                </a:extLst>
              </a:tr>
              <a:tr h="89795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n-MC Ship </a:t>
                      </a:r>
                      <a:r>
                        <a:rPr lang="en-US" sz="1800" b="0" i="0" kern="1200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agnostic</a:t>
                      </a:r>
                      <a:endParaRPr lang="en-US" sz="1800" b="0" i="0" kern="1200" dirty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2286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800" dirty="0">
                          <a:solidFill>
                            <a:srgbClr val="5A5A5A"/>
                          </a:solidFill>
                        </a:rPr>
                        <a:t>Adam</a:t>
                      </a:r>
                      <a:r>
                        <a:rPr lang="en-US" sz="1800" baseline="0" dirty="0">
                          <a:solidFill>
                            <a:srgbClr val="5A5A5A"/>
                          </a:solidFill>
                        </a:rPr>
                        <a:t> Powars</a:t>
                      </a:r>
                      <a:endParaRPr lang="en-US" sz="1800" dirty="0">
                        <a:solidFill>
                          <a:srgbClr val="5A5A5A"/>
                        </a:solidFill>
                      </a:endParaRPr>
                    </a:p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800" dirty="0">
                          <a:solidFill>
                            <a:srgbClr val="5A5A5A"/>
                          </a:solidFill>
                        </a:rPr>
                        <a:t>CDR </a:t>
                      </a:r>
                      <a:r>
                        <a:rPr lang="en-US" sz="1800" dirty="0" smtClean="0">
                          <a:solidFill>
                            <a:srgbClr val="5A5A5A"/>
                          </a:solidFill>
                        </a:rPr>
                        <a:t>Petty (AO)</a:t>
                      </a:r>
                      <a:endParaRPr lang="en-US" sz="1800" dirty="0">
                        <a:solidFill>
                          <a:srgbClr val="5A5A5A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None/>
                      </a:pPr>
                      <a:r>
                        <a:rPr lang="en-US" sz="1800" dirty="0">
                          <a:solidFill>
                            <a:srgbClr val="575757"/>
                          </a:solidFill>
                        </a:rPr>
                        <a:t>Improve</a:t>
                      </a:r>
                      <a:r>
                        <a:rPr lang="en-US" sz="1800" baseline="0" dirty="0">
                          <a:solidFill>
                            <a:srgbClr val="575757"/>
                          </a:solidFill>
                        </a:rPr>
                        <a:t> system readiness through detailed analysis of readiness degraders</a:t>
                      </a:r>
                      <a:r>
                        <a:rPr lang="en-US" sz="1800" dirty="0">
                          <a:solidFill>
                            <a:srgbClr val="575757"/>
                          </a:solidFill>
                        </a:rPr>
                        <a:t> </a:t>
                      </a:r>
                      <a:endParaRPr lang="en-US" sz="1800" kern="1200" dirty="0">
                        <a:solidFill>
                          <a:srgbClr val="575757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234682"/>
                  </a:ext>
                </a:extLst>
              </a:tr>
              <a:tr h="897954">
                <a:tc>
                  <a:txBody>
                    <a:bodyPr/>
                    <a:lstStyle/>
                    <a:p>
                      <a:pPr marL="0" lvl="0" indent="0">
                        <a:spcAft>
                          <a:spcPts val="300"/>
                        </a:spcAft>
                        <a:buNone/>
                      </a:pPr>
                      <a:r>
                        <a:rPr lang="en-US" sz="1800" b="0" i="0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lowance Management Pilot</a:t>
                      </a:r>
                      <a:endParaRPr lang="en-US" dirty="0"/>
                    </a:p>
                  </a:txBody>
                  <a:tcPr marR="2286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l" rtl="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0" i="0" u="none" strike="noStrike" kern="1200" dirty="0">
                          <a:solidFill>
                            <a:srgbClr val="5A5A5A"/>
                          </a:solidFill>
                          <a:effectLst/>
                          <a:latin typeface="Trebuchet MS"/>
                        </a:rPr>
                        <a:t>CAPT Oswald​/B. Latz</a:t>
                      </a:r>
                      <a:endParaRPr lang="en-US" dirty="0"/>
                    </a:p>
                    <a:p>
                      <a:pPr marL="0" lvl="0" algn="l" rtl="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0" i="0" u="none" strike="noStrike" kern="1200" dirty="0">
                          <a:solidFill>
                            <a:srgbClr val="5A5A5A"/>
                          </a:solidFill>
                          <a:effectLst/>
                          <a:latin typeface="Trebuchet MS"/>
                        </a:rPr>
                        <a:t>Ketzy Trevizo</a:t>
                      </a:r>
                    </a:p>
                    <a:p>
                      <a:pPr marL="0" lvl="0" algn="l" rtl="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0" i="0" u="none" strike="noStrike" kern="1200" dirty="0">
                          <a:solidFill>
                            <a:srgbClr val="5A5A5A"/>
                          </a:solidFill>
                          <a:effectLst/>
                          <a:latin typeface="Trebuchet MS"/>
                        </a:rPr>
                        <a:t>LCDR </a:t>
                      </a:r>
                      <a:r>
                        <a:rPr lang="en-US" sz="1800" b="0" i="0" u="none" strike="noStrike" kern="1200" dirty="0" smtClean="0">
                          <a:solidFill>
                            <a:srgbClr val="5A5A5A"/>
                          </a:solidFill>
                          <a:effectLst/>
                          <a:latin typeface="Trebuchet MS"/>
                        </a:rPr>
                        <a:t>McCall (AO)</a:t>
                      </a:r>
                      <a:endParaRPr lang="en-US" sz="2400" b="0" i="0" u="none" strike="noStrike" dirty="0">
                        <a:effectLst/>
                        <a:latin typeface="Trebuchet M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None/>
                      </a:pPr>
                      <a:r>
                        <a:rPr lang="en-US" sz="1800" dirty="0">
                          <a:solidFill>
                            <a:srgbClr val="575757"/>
                          </a:solidFill>
                        </a:rPr>
                        <a:t>Partner with PEO IWS and Ships to analyze</a:t>
                      </a:r>
                      <a:r>
                        <a:rPr lang="en-US" sz="1800" baseline="0" dirty="0">
                          <a:solidFill>
                            <a:srgbClr val="575757"/>
                          </a:solidFill>
                        </a:rPr>
                        <a:t> systems with largest opportunity to improve </a:t>
                      </a:r>
                      <a:r>
                        <a:rPr lang="en-US" sz="1800" baseline="0" dirty="0" err="1">
                          <a:solidFill>
                            <a:srgbClr val="575757"/>
                          </a:solidFill>
                        </a:rPr>
                        <a:t>Ao</a:t>
                      </a:r>
                      <a:endParaRPr lang="en-US" sz="1800" kern="1200" dirty="0">
                        <a:solidFill>
                          <a:srgbClr val="575757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1866364"/>
                  </a:ext>
                </a:extLst>
              </a:tr>
              <a:tr h="897954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Material Visibility Pilot</a:t>
                      </a:r>
                      <a:endParaRPr lang="en-US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90000"/>
                        </a:lnSpc>
                        <a:buNone/>
                      </a:pPr>
                      <a:r>
                        <a:rPr lang="en-US" sz="1800" dirty="0">
                          <a:solidFill>
                            <a:srgbClr val="5A5A5A"/>
                          </a:solidFill>
                        </a:rPr>
                        <a:t>Charla Fridley</a:t>
                      </a:r>
                      <a:endParaRPr lang="en-US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90000"/>
                        </a:lnSpc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800" dirty="0">
                          <a:solidFill>
                            <a:srgbClr val="575757"/>
                          </a:solidFill>
                        </a:rPr>
                        <a:t>Partner with PEO IWS and Ships</a:t>
                      </a:r>
                      <a:r>
                        <a:rPr lang="en-US" sz="1800" baseline="0" dirty="0">
                          <a:solidFill>
                            <a:srgbClr val="575757"/>
                          </a:solidFill>
                        </a:rPr>
                        <a:t> to improve Fleet readiness by increasing NAVSUP’s visibility of program-owned material</a:t>
                      </a:r>
                      <a:endParaRPr lang="en-US" sz="1800" dirty="0">
                        <a:solidFill>
                          <a:srgbClr val="575757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72187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5557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754C442-1655-3E5A-E557-0D62C552E0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6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54C442-1655-3E5A-E557-0D62C552E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9237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JR_ugDSMYKQ1HD6OqZp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JR_ugDSMYKQ1HD6OqZp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JR_ugDSMYKQ1HD6OqZp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Margins"/>
</p:tagLst>
</file>

<file path=ppt/theme/theme1.xml><?xml version="1.0" encoding="utf-8"?>
<a:theme xmlns:a="http://schemas.openxmlformats.org/drawingml/2006/main" name="NSS-S Grid 16:9 v2 -13724">
  <a:themeElements>
    <a:clrScheme name="F35_1">
      <a:dk1>
        <a:srgbClr val="000000"/>
      </a:dk1>
      <a:lt1>
        <a:sysClr val="window" lastClr="FFFFFF"/>
      </a:lt1>
      <a:dk2>
        <a:srgbClr val="002060"/>
      </a:dk2>
      <a:lt2>
        <a:srgbClr val="F2F2F2"/>
      </a:lt2>
      <a:accent1>
        <a:srgbClr val="000B22"/>
      </a:accent1>
      <a:accent2>
        <a:srgbClr val="0F2239"/>
      </a:accent2>
      <a:accent3>
        <a:srgbClr val="E5E500"/>
      </a:accent3>
      <a:accent4>
        <a:srgbClr val="0042C8"/>
      </a:accent4>
      <a:accent5>
        <a:srgbClr val="5A5A5A"/>
      </a:accent5>
      <a:accent6>
        <a:srgbClr val="009999"/>
      </a:accent6>
      <a:hlink>
        <a:srgbClr val="C00000"/>
      </a:hlink>
      <a:folHlink>
        <a:srgbClr val="C00000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1_BCG Grid 16:9">
  <a:themeElements>
    <a:clrScheme name="F35_1">
      <a:dk1>
        <a:srgbClr val="000000"/>
      </a:dk1>
      <a:lt1>
        <a:sysClr val="window" lastClr="FFFFFF"/>
      </a:lt1>
      <a:dk2>
        <a:srgbClr val="002060"/>
      </a:dk2>
      <a:lt2>
        <a:srgbClr val="F2F2F2"/>
      </a:lt2>
      <a:accent1>
        <a:srgbClr val="000B22"/>
      </a:accent1>
      <a:accent2>
        <a:srgbClr val="0F2239"/>
      </a:accent2>
      <a:accent3>
        <a:srgbClr val="E5E500"/>
      </a:accent3>
      <a:accent4>
        <a:srgbClr val="0042C8"/>
      </a:accent4>
      <a:accent5>
        <a:srgbClr val="5A5A5A"/>
      </a:accent5>
      <a:accent6>
        <a:srgbClr val="009999"/>
      </a:accent6>
      <a:hlink>
        <a:srgbClr val="C00000"/>
      </a:hlink>
      <a:folHlink>
        <a:srgbClr val="C00000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NSS-S Splash Slides - 13724">
  <a:themeElements>
    <a:clrScheme name="NSS-S">
      <a:dk1>
        <a:srgbClr val="000000"/>
      </a:dk1>
      <a:lt1>
        <a:sysClr val="window" lastClr="FFFFFF"/>
      </a:lt1>
      <a:dk2>
        <a:srgbClr val="002060"/>
      </a:dk2>
      <a:lt2>
        <a:srgbClr val="F2F2F2"/>
      </a:lt2>
      <a:accent1>
        <a:srgbClr val="3599DB"/>
      </a:accent1>
      <a:accent2>
        <a:srgbClr val="1579A1"/>
      </a:accent2>
      <a:accent3>
        <a:srgbClr val="FECB00"/>
      </a:accent3>
      <a:accent4>
        <a:srgbClr val="0000FF"/>
      </a:accent4>
      <a:accent5>
        <a:srgbClr val="5A5A5A"/>
      </a:accent5>
      <a:accent6>
        <a:srgbClr val="009999"/>
      </a:accent6>
      <a:hlink>
        <a:srgbClr val="C00000"/>
      </a:hlink>
      <a:folHlink>
        <a:srgbClr val="C00000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noFill/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bg1">
              <a:lumMod val="5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0" tIns="0" rIns="0" bIns="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4.xml><?xml version="1.0" encoding="utf-8"?>
<a:theme xmlns:a="http://schemas.openxmlformats.org/drawingml/2006/main" name="1_NSS-S Splash Slides - 13724">
  <a:themeElements>
    <a:clrScheme name="NSS-S">
      <a:dk1>
        <a:srgbClr val="000000"/>
      </a:dk1>
      <a:lt1>
        <a:sysClr val="window" lastClr="FFFFFF"/>
      </a:lt1>
      <a:dk2>
        <a:srgbClr val="002060"/>
      </a:dk2>
      <a:lt2>
        <a:srgbClr val="F2F2F2"/>
      </a:lt2>
      <a:accent1>
        <a:srgbClr val="3599DB"/>
      </a:accent1>
      <a:accent2>
        <a:srgbClr val="1579A1"/>
      </a:accent2>
      <a:accent3>
        <a:srgbClr val="FECB00"/>
      </a:accent3>
      <a:accent4>
        <a:srgbClr val="0000FF"/>
      </a:accent4>
      <a:accent5>
        <a:srgbClr val="5A5A5A"/>
      </a:accent5>
      <a:accent6>
        <a:srgbClr val="009999"/>
      </a:accent6>
      <a:hlink>
        <a:srgbClr val="C00000"/>
      </a:hlink>
      <a:folHlink>
        <a:srgbClr val="C00000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noFill/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bg1">
              <a:lumMod val="5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0" tIns="0" rIns="0" bIns="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5.xml><?xml version="1.0" encoding="utf-8"?>
<a:theme xmlns:a="http://schemas.openxmlformats.org/drawingml/2006/main" name="1_NSS-S Grid 16:9 v2 -13724">
  <a:themeElements>
    <a:clrScheme name="F35_1">
      <a:dk1>
        <a:srgbClr val="000000"/>
      </a:dk1>
      <a:lt1>
        <a:sysClr val="window" lastClr="FFFFFF"/>
      </a:lt1>
      <a:dk2>
        <a:srgbClr val="002060"/>
      </a:dk2>
      <a:lt2>
        <a:srgbClr val="F2F2F2"/>
      </a:lt2>
      <a:accent1>
        <a:srgbClr val="000B22"/>
      </a:accent1>
      <a:accent2>
        <a:srgbClr val="0F2239"/>
      </a:accent2>
      <a:accent3>
        <a:srgbClr val="E5E500"/>
      </a:accent3>
      <a:accent4>
        <a:srgbClr val="0042C8"/>
      </a:accent4>
      <a:accent5>
        <a:srgbClr val="5A5A5A"/>
      </a:accent5>
      <a:accent6>
        <a:srgbClr val="009999"/>
      </a:accent6>
      <a:hlink>
        <a:srgbClr val="C00000"/>
      </a:hlink>
      <a:folHlink>
        <a:srgbClr val="C00000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93DB498B3C68A4CB536D9BBC78CEF79" ma:contentTypeVersion="10" ma:contentTypeDescription="Create a new document." ma:contentTypeScope="" ma:versionID="f731d19ea668f535811da329d593c262">
  <xsd:schema xmlns:xsd="http://www.w3.org/2001/XMLSchema" xmlns:xs="http://www.w3.org/2001/XMLSchema" xmlns:p="http://schemas.microsoft.com/office/2006/metadata/properties" xmlns:ns3="1c36a636-94bf-4530-94cc-0a9f1dc32b66" xmlns:ns4="8717bfcc-898a-4d86-a5c4-af95ba9ab746" targetNamespace="http://schemas.microsoft.com/office/2006/metadata/properties" ma:root="true" ma:fieldsID="9d7592fe74acfcd00b76c40e2ef8c4c7" ns3:_="" ns4:_="">
    <xsd:import namespace="1c36a636-94bf-4530-94cc-0a9f1dc32b66"/>
    <xsd:import namespace="8717bfcc-898a-4d86-a5c4-af95ba9ab74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36a636-94bf-4530-94cc-0a9f1dc32b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_activity" ma:index="14" nillable="true" ma:displayName="_activity" ma:hidden="true" ma:internalName="_activity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17bfcc-898a-4d86-a5c4-af95ba9ab746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1c36a636-94bf-4530-94cc-0a9f1dc32b66" xsi:nil="true"/>
  </documentManagement>
</p:properties>
</file>

<file path=customXml/itemProps1.xml><?xml version="1.0" encoding="utf-8"?>
<ds:datastoreItem xmlns:ds="http://schemas.openxmlformats.org/officeDocument/2006/customXml" ds:itemID="{D171CB3F-6CC0-43AB-9896-38A31E5E038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044DB97-E969-41BD-B00D-D920BE0D98E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c36a636-94bf-4530-94cc-0a9f1dc32b66"/>
    <ds:schemaRef ds:uri="8717bfcc-898a-4d86-a5c4-af95ba9ab74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A14AA4D-BC9A-4603-B398-3C9EF3B4D9EE}">
  <ds:schemaRefs>
    <ds:schemaRef ds:uri="8717bfcc-898a-4d86-a5c4-af95ba9ab746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1c36a636-94bf-4530-94cc-0a9f1dc32b66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751</TotalTime>
  <Words>568</Words>
  <Application>Microsoft Office PowerPoint</Application>
  <PresentationFormat>Widescreen</PresentationFormat>
  <Paragraphs>130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1" baseType="lpstr">
      <vt:lpstr>MS PGothic</vt:lpstr>
      <vt:lpstr>Arial</vt:lpstr>
      <vt:lpstr>Calibri</vt:lpstr>
      <vt:lpstr>Franklin Gothic Book</vt:lpstr>
      <vt:lpstr>Franklin Gothic Demi</vt:lpstr>
      <vt:lpstr>Times New Roman</vt:lpstr>
      <vt:lpstr>Trebuchet MS</vt:lpstr>
      <vt:lpstr>NSS-S Grid 16:9 v2 -13724</vt:lpstr>
      <vt:lpstr>1_BCG Grid 16:9</vt:lpstr>
      <vt:lpstr>NSS-S Splash Slides - 13724</vt:lpstr>
      <vt:lpstr>1_NSS-S Splash Slides - 13724</vt:lpstr>
      <vt:lpstr>1_NSS-S Grid 16:9 v2 -13724</vt:lpstr>
      <vt:lpstr>think-cell Slide</vt:lpstr>
      <vt:lpstr>NSS-Supply 2.0</vt:lpstr>
      <vt:lpstr>The original NSS-Supply 1.0 focused on capturing value within the supply chain</vt:lpstr>
      <vt:lpstr>28 NSS-S initiatives completed across first 6 Waves from 2021 to 2023</vt:lpstr>
      <vt:lpstr>PowerPoint Presentation</vt:lpstr>
      <vt:lpstr>PowerPoint Presentation</vt:lpstr>
      <vt:lpstr>NSS-Supply lessons learned</vt:lpstr>
      <vt:lpstr>Wave 8 initiatives and Expected Outcomes</vt:lpstr>
      <vt:lpstr>PowerPoint Presentation</vt:lpstr>
    </vt:vector>
  </TitlesOfParts>
  <Company>HPES NMCI NG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8 NSS-S initiatives completed across first 6 Waves from 2021 to 2023</dc:title>
  <dc:creator>Olson, Melissa S CIV USN COMNAVSUPSYSCOM PA (USA)</dc:creator>
  <cp:lastModifiedBy>Kirk Engler</cp:lastModifiedBy>
  <cp:revision>37</cp:revision>
  <cp:lastPrinted>2024-01-23T19:41:32Z</cp:lastPrinted>
  <dcterms:created xsi:type="dcterms:W3CDTF">2023-10-11T14:37:37Z</dcterms:created>
  <dcterms:modified xsi:type="dcterms:W3CDTF">2024-03-22T15:22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93DB498B3C68A4CB536D9BBC78CEF79</vt:lpwstr>
  </property>
</Properties>
</file>